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  <p:sldMasterId id="2147483809" r:id="rId6"/>
    <p:sldMasterId id="2147483821" r:id="rId7"/>
  </p:sldMasterIdLst>
  <p:notesMasterIdLst>
    <p:notesMasterId r:id="rId17"/>
  </p:notesMasterIdLst>
  <p:handoutMasterIdLst>
    <p:handoutMasterId r:id="rId18"/>
  </p:handoutMasterIdLst>
  <p:sldIdLst>
    <p:sldId id="259" r:id="rId8"/>
    <p:sldId id="2147483124" r:id="rId9"/>
    <p:sldId id="2147483138" r:id="rId10"/>
    <p:sldId id="256" r:id="rId11"/>
    <p:sldId id="2147483137" r:id="rId12"/>
    <p:sldId id="2147483130" r:id="rId13"/>
    <p:sldId id="2147483128" r:id="rId14"/>
    <p:sldId id="276" r:id="rId15"/>
    <p:sldId id="2147483133" r:id="rId16"/>
  </p:sldIdLst>
  <p:sldSz cx="12192000" cy="6858000"/>
  <p:notesSz cx="6858000" cy="9144000"/>
  <p:embeddedFontLst>
    <p:embeddedFont>
      <p:font typeface="Apis For Office" panose="020B0504010101010104" pitchFamily="34" charset="0"/>
      <p:regular r:id="rId19"/>
      <p:bold r:id="rId20"/>
      <p:italic r:id="rId21"/>
      <p:boldItalic r:id="rId22"/>
    </p:embeddedFont>
    <p:embeddedFont>
      <p:font typeface="Apis For Office Light" panose="020B0404010101010104" pitchFamily="34" charset="0"/>
      <p:regular r:id="rId23"/>
      <p:italic r:id="rId24"/>
    </p:embeddedFont>
    <p:embeddedFont>
      <p:font typeface="Verdana" panose="020B0604030504040204" pitchFamily="34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444" autoAdjust="0"/>
  </p:normalViewPr>
  <p:slideViewPr>
    <p:cSldViewPr snapToGrid="0" showGuides="1">
      <p:cViewPr varScale="1">
        <p:scale>
          <a:sx n="102" d="100"/>
          <a:sy n="102" d="100"/>
        </p:scale>
        <p:origin x="95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3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viewProps" Target="viewProps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MKR (Martin Karlsson)" userId="7fbc46da-be70-47a2-9a0d-9c95923ecc09" providerId="ADAL" clId="{128CEE00-DB79-4A6C-96C8-00DC54BA73E1}"/>
    <pc:docChg chg="delSld">
      <pc:chgData name="QMKR (Martin Karlsson)" userId="7fbc46da-be70-47a2-9a0d-9c95923ecc09" providerId="ADAL" clId="{128CEE00-DB79-4A6C-96C8-00DC54BA73E1}" dt="2026-04-07T20:03:59.866" v="1" actId="47"/>
      <pc:docMkLst>
        <pc:docMk/>
      </pc:docMkLst>
      <pc:sldChg chg="del">
        <pc:chgData name="QMKR (Martin Karlsson)" userId="7fbc46da-be70-47a2-9a0d-9c95923ecc09" providerId="ADAL" clId="{128CEE00-DB79-4A6C-96C8-00DC54BA73E1}" dt="2026-04-07T20:03:59.866" v="1" actId="47"/>
        <pc:sldMkLst>
          <pc:docMk/>
          <pc:sldMk cId="3272722035" sldId="275"/>
        </pc:sldMkLst>
      </pc:sldChg>
      <pc:sldChg chg="del">
        <pc:chgData name="QMKR (Martin Karlsson)" userId="7fbc46da-be70-47a2-9a0d-9c95923ecc09" providerId="ADAL" clId="{128CEE00-DB79-4A6C-96C8-00DC54BA73E1}" dt="2026-04-07T20:03:59.749" v="0" actId="47"/>
        <pc:sldMkLst>
          <pc:docMk/>
          <pc:sldMk cId="316634883" sldId="21474831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7/04/2026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 note</a:t>
            </a:r>
          </a:p>
          <a:p>
            <a:pPr lvl="6"/>
            <a:r>
              <a:rPr lang="en-US" dirty="0"/>
              <a:t>7 level</a:t>
            </a:r>
          </a:p>
          <a:p>
            <a:pPr lvl="7"/>
            <a:r>
              <a:rPr lang="en-US" dirty="0"/>
              <a:t>8 level</a:t>
            </a:r>
          </a:p>
          <a:p>
            <a:pPr lvl="8"/>
            <a:r>
              <a:rPr lang="en-US" dirty="0"/>
              <a:t>9 header	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7/04/2026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90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0037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604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US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ynamic logo white" descr="{&quot;templafy&quot;:{&quot;id&quot;:&quot;dfaf3a11-8330-4f32-8e98-b0fe97385246&quot;}}" title="Form.PLogoChoice.PLogoInsertionWhite">
            <a:extLst>
              <a:ext uri="{FF2B5EF4-FFF2-40B4-BE49-F238E27FC236}">
                <a16:creationId xmlns:a16="http://schemas.microsoft.com/office/drawing/2014/main" id="{C5FCC1DF-363B-E72E-C9AA-B53C438C43D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dynamic year 100" descr="{&quot;templafy&quot;:{&quot;id&quot;:&quot;030395cc-edef-42bb-b9ec-5fcec00ac4d3&quot;}}" title="Form.PLogoChoice.PLogoInsertion">
            <a:extLst>
              <a:ext uri="{FF2B5EF4-FFF2-40B4-BE49-F238E27FC236}">
                <a16:creationId xmlns:a16="http://schemas.microsoft.com/office/drawing/2014/main" id="{F5E8B261-EC29-2FF5-230F-CD67CBFA525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dynamic logo" descr="{&quot;templafy&quot;:{&quot;id&quot;:&quot;707d5590-19ce-44e5-bc71-1be377f50a45&quot;}}" title="Form.PLogoChoice.PLogoInsertion">
            <a:extLst>
              <a:ext uri="{FF2B5EF4-FFF2-40B4-BE49-F238E27FC236}">
                <a16:creationId xmlns:a16="http://schemas.microsoft.com/office/drawing/2014/main" id="{0AE4A24C-70EB-BC8C-D2BF-CE49F3D32F0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20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20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1327234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US" dirty="0"/>
              <a:t>Click to add trumpe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1C300B8-ABB6-BCEA-C620-D3B5CFF7F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605664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ynamic logo white" descr="{&quot;templafy&quot;:{&quot;id&quot;:&quot;90fd5118-93fd-4a18-96fb-0ac0f4384496&quot;}}" title="Form.PLogoChoice.PLogoInsertionWhite">
            <a:extLst>
              <a:ext uri="{FF2B5EF4-FFF2-40B4-BE49-F238E27FC236}">
                <a16:creationId xmlns:a16="http://schemas.microsoft.com/office/drawing/2014/main" id="{6710F327-85FB-CF0C-0969-475E9A09AE2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125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sz="100" dirty="0"/>
          </a:p>
        </p:txBody>
      </p:sp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sz="100" dirty="0"/>
          </a:p>
        </p:txBody>
      </p:sp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ynamic logo" descr="{&quot;templafy&quot;:{&quot;id&quot;:&quot;6d5cd887-7f8d-4ace-b0c5-176aa105823f&quot;}}" title="Form.PLogoChoice.PLogoInsertion">
            <a:extLst>
              <a:ext uri="{FF2B5EF4-FFF2-40B4-BE49-F238E27FC236}">
                <a16:creationId xmlns:a16="http://schemas.microsoft.com/office/drawing/2014/main" id="{2CF51ADE-B2CC-B4D3-5513-A6A66C77DEB7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6b85331b-3c1e-4183-90f5-1b0c40617904&quot;}}" title="Form.PLogoChoice.PLogoInsertion">
            <a:extLst>
              <a:ext uri="{FF2B5EF4-FFF2-40B4-BE49-F238E27FC236}">
                <a16:creationId xmlns:a16="http://schemas.microsoft.com/office/drawing/2014/main" id="{1E4501D4-80DD-6712-25F4-A6D515CAB8F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 TO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P Agenda Section" hidden="1"/>
          <p:cNvGrpSpPr/>
          <p:nvPr userDrawn="1"/>
        </p:nvGrpSpPr>
        <p:grpSpPr>
          <a:xfrm>
            <a:off x="649875" y="2120400"/>
            <a:ext cx="8651288" cy="538934"/>
            <a:chOff x="648000" y="2120400"/>
            <a:chExt cx="8651287" cy="538934"/>
          </a:xfrm>
        </p:grpSpPr>
        <p:sp>
          <p:nvSpPr>
            <p:cNvPr id="20" name="Section Title"/>
            <p:cNvSpPr txBox="1">
              <a:spLocks/>
            </p:cNvSpPr>
            <p:nvPr userDrawn="1"/>
          </p:nvSpPr>
          <p:spPr>
            <a:xfrm>
              <a:off x="1116140" y="2120400"/>
              <a:ext cx="4994426" cy="2628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2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Section Number"/>
            <p:cNvSpPr txBox="1">
              <a:spLocks/>
            </p:cNvSpPr>
            <p:nvPr userDrawn="1"/>
          </p:nvSpPr>
          <p:spPr>
            <a:xfrm>
              <a:off x="648000" y="2120400"/>
              <a:ext cx="379556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Slide Number"/>
            <p:cNvSpPr txBox="1">
              <a:spLocks/>
            </p:cNvSpPr>
            <p:nvPr userDrawn="1"/>
          </p:nvSpPr>
          <p:spPr>
            <a:xfrm>
              <a:off x="8662293" y="2120400"/>
              <a:ext cx="636994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12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imeslot"/>
            <p:cNvSpPr txBox="1">
              <a:spLocks/>
            </p:cNvSpPr>
            <p:nvPr userDrawn="1"/>
          </p:nvSpPr>
          <p:spPr>
            <a:xfrm>
              <a:off x="1116140" y="2396534"/>
              <a:ext cx="1257061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Responsible"/>
            <p:cNvSpPr txBox="1">
              <a:spLocks/>
            </p:cNvSpPr>
            <p:nvPr userDrawn="1"/>
          </p:nvSpPr>
          <p:spPr>
            <a:xfrm>
              <a:off x="3421771" y="2396534"/>
              <a:ext cx="1388067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Duration"/>
            <p:cNvSpPr txBox="1">
              <a:spLocks/>
            </p:cNvSpPr>
            <p:nvPr userDrawn="1"/>
          </p:nvSpPr>
          <p:spPr>
            <a:xfrm>
              <a:off x="6204648" y="2396534"/>
              <a:ext cx="684723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649875" y="2886557"/>
            <a:ext cx="8651288" cy="538934"/>
            <a:chOff x="1797664" y="1308363"/>
            <a:chExt cx="8651288" cy="538934"/>
          </a:xfrm>
          <a:noFill/>
        </p:grpSpPr>
        <p:sp>
          <p:nvSpPr>
            <p:cNvPr id="32" name="Section Title"/>
            <p:cNvSpPr txBox="1">
              <a:spLocks/>
            </p:cNvSpPr>
            <p:nvPr userDrawn="1"/>
          </p:nvSpPr>
          <p:spPr>
            <a:xfrm>
              <a:off x="2265804" y="1308363"/>
              <a:ext cx="4994427" cy="262800"/>
            </a:xfrm>
            <a:prstGeom prst="rect">
              <a:avLst/>
            </a:prstGeom>
            <a:grp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33" name="Section Number"/>
            <p:cNvSpPr txBox="1">
              <a:spLocks/>
            </p:cNvSpPr>
            <p:nvPr userDrawn="1"/>
          </p:nvSpPr>
          <p:spPr>
            <a:xfrm>
              <a:off x="1797664" y="1308363"/>
              <a:ext cx="379556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34" name="Slide Number"/>
            <p:cNvSpPr txBox="1">
              <a:spLocks/>
            </p:cNvSpPr>
            <p:nvPr userDrawn="1"/>
          </p:nvSpPr>
          <p:spPr>
            <a:xfrm>
              <a:off x="9811958" y="1308363"/>
              <a:ext cx="636994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35" name="Timeslot"/>
            <p:cNvSpPr txBox="1">
              <a:spLocks/>
            </p:cNvSpPr>
            <p:nvPr userDrawn="1"/>
          </p:nvSpPr>
          <p:spPr>
            <a:xfrm>
              <a:off x="2265804" y="1584497"/>
              <a:ext cx="1257061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36" name="Responsible"/>
            <p:cNvSpPr txBox="1">
              <a:spLocks/>
            </p:cNvSpPr>
            <p:nvPr userDrawn="1"/>
          </p:nvSpPr>
          <p:spPr>
            <a:xfrm>
              <a:off x="4571435" y="1584497"/>
              <a:ext cx="1388067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37" name="Duration"/>
            <p:cNvSpPr txBox="1">
              <a:spLocks/>
            </p:cNvSpPr>
            <p:nvPr userDrawn="1"/>
          </p:nvSpPr>
          <p:spPr>
            <a:xfrm>
              <a:off x="7354312" y="1584497"/>
              <a:ext cx="684723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649875" y="3652714"/>
            <a:ext cx="8651288" cy="538934"/>
            <a:chOff x="1797663" y="2081912"/>
            <a:chExt cx="8651287" cy="538934"/>
          </a:xfrm>
        </p:grpSpPr>
        <p:sp>
          <p:nvSpPr>
            <p:cNvPr id="39" name="Section Title"/>
            <p:cNvSpPr txBox="1">
              <a:spLocks/>
            </p:cNvSpPr>
            <p:nvPr userDrawn="1"/>
          </p:nvSpPr>
          <p:spPr>
            <a:xfrm>
              <a:off x="2265803" y="2081912"/>
              <a:ext cx="4994426" cy="262800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40" name="Section Number"/>
            <p:cNvSpPr txBox="1">
              <a:spLocks/>
            </p:cNvSpPr>
            <p:nvPr userDrawn="1"/>
          </p:nvSpPr>
          <p:spPr>
            <a:xfrm>
              <a:off x="1797663" y="2081912"/>
              <a:ext cx="379556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41" name="Slide Number"/>
            <p:cNvSpPr txBox="1">
              <a:spLocks/>
            </p:cNvSpPr>
            <p:nvPr userDrawn="1"/>
          </p:nvSpPr>
          <p:spPr>
            <a:xfrm>
              <a:off x="9811956" y="2081912"/>
              <a:ext cx="636994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42" name="Timeslot"/>
            <p:cNvSpPr txBox="1">
              <a:spLocks/>
            </p:cNvSpPr>
            <p:nvPr userDrawn="1"/>
          </p:nvSpPr>
          <p:spPr>
            <a:xfrm>
              <a:off x="2265803" y="2358046"/>
              <a:ext cx="1257061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43" name="Responsible"/>
            <p:cNvSpPr txBox="1">
              <a:spLocks/>
            </p:cNvSpPr>
            <p:nvPr userDrawn="1"/>
          </p:nvSpPr>
          <p:spPr>
            <a:xfrm>
              <a:off x="4571434" y="2358046"/>
              <a:ext cx="1388067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44" name="Duration"/>
            <p:cNvSpPr txBox="1">
              <a:spLocks/>
            </p:cNvSpPr>
            <p:nvPr userDrawn="1"/>
          </p:nvSpPr>
          <p:spPr>
            <a:xfrm>
              <a:off x="7354310" y="2358046"/>
              <a:ext cx="684723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649575" y="4474801"/>
            <a:ext cx="8651588" cy="538934"/>
            <a:chOff x="1797664" y="1967494"/>
            <a:chExt cx="8651588" cy="538934"/>
          </a:xfrm>
          <a:noFill/>
        </p:grpSpPr>
        <p:sp>
          <p:nvSpPr>
            <p:cNvPr id="46" name="Section Title"/>
            <p:cNvSpPr txBox="1">
              <a:spLocks/>
            </p:cNvSpPr>
            <p:nvPr userDrawn="1"/>
          </p:nvSpPr>
          <p:spPr>
            <a:xfrm>
              <a:off x="2265804" y="1967494"/>
              <a:ext cx="4994427" cy="262800"/>
            </a:xfrm>
            <a:prstGeom prst="rect">
              <a:avLst/>
            </a:prstGeom>
            <a:grp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47" name="Section Number"/>
            <p:cNvSpPr txBox="1">
              <a:spLocks/>
            </p:cNvSpPr>
            <p:nvPr userDrawn="1"/>
          </p:nvSpPr>
          <p:spPr>
            <a:xfrm>
              <a:off x="1797664" y="1967494"/>
              <a:ext cx="379556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48" name="Slide Number"/>
            <p:cNvSpPr txBox="1">
              <a:spLocks/>
            </p:cNvSpPr>
            <p:nvPr userDrawn="1"/>
          </p:nvSpPr>
          <p:spPr>
            <a:xfrm>
              <a:off x="9812258" y="1967494"/>
              <a:ext cx="636994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49" name="Timeslot"/>
            <p:cNvSpPr txBox="1">
              <a:spLocks/>
            </p:cNvSpPr>
            <p:nvPr userDrawn="1"/>
          </p:nvSpPr>
          <p:spPr>
            <a:xfrm>
              <a:off x="2265804" y="2243628"/>
              <a:ext cx="1257061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50" name="Responsible"/>
            <p:cNvSpPr txBox="1">
              <a:spLocks/>
            </p:cNvSpPr>
            <p:nvPr userDrawn="1"/>
          </p:nvSpPr>
          <p:spPr>
            <a:xfrm>
              <a:off x="4571735" y="2243628"/>
              <a:ext cx="1388067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51" name="Duration"/>
            <p:cNvSpPr txBox="1">
              <a:spLocks/>
            </p:cNvSpPr>
            <p:nvPr userDrawn="1"/>
          </p:nvSpPr>
          <p:spPr>
            <a:xfrm>
              <a:off x="7354611" y="2243628"/>
              <a:ext cx="684723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C69C51-152E-42EB-9E33-2953A61CF398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48000" y="648000"/>
            <a:ext cx="6406850" cy="694663"/>
          </a:xfrm>
        </p:spPr>
        <p:txBody>
          <a:bodyPr anchor="t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EAC6E4-F34E-C8E7-3EE6-EBAF68C864A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1B7CAE-3673-9F2C-CEC3-DD3AC3C50C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AB8224-9D13-0477-381E-9E06AE6FAE1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9D40B05-6144-8FA9-C28C-8E4E3FE5B0F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rgbClr val="FFFFFF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" name="dynamic logo white" descr="{&quot;templafy&quot;:{&quot;id&quot;:&quot;d2c74e02-72cd-4c31-bda6-0d51377b95f0&quot;}}" title="Form.PLogoChoice.PLogoInsertionWhite">
            <a:extLst>
              <a:ext uri="{FF2B5EF4-FFF2-40B4-BE49-F238E27FC236}">
                <a16:creationId xmlns:a16="http://schemas.microsoft.com/office/drawing/2014/main" id="{1A6A96C2-0B73-E670-4F39-F1FDDA60D26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461082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3BC2A95-D6F3-C873-0C4F-968220225C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749301" y="3127375"/>
            <a:ext cx="10423524" cy="603250"/>
            <a:chOff x="1595205" y="1927239"/>
            <a:chExt cx="6143204" cy="603250"/>
          </a:xfrm>
        </p:grpSpPr>
        <p:sp>
          <p:nvSpPr>
            <p:cNvPr id="72" name="Section Title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42645" y="1927239"/>
              <a:ext cx="5495764" cy="60325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4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Section Number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95205" y="1927239"/>
              <a:ext cx="647442" cy="60325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74" name="Slide Number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imeslot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Responsible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Duration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749301" y="3127375"/>
            <a:ext cx="10423523" cy="603250"/>
            <a:chOff x="1595205" y="1927239"/>
            <a:chExt cx="6143204" cy="603250"/>
          </a:xfrm>
        </p:grpSpPr>
        <p:sp>
          <p:nvSpPr>
            <p:cNvPr id="79" name="Section Title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42645" y="1927239"/>
              <a:ext cx="5495764" cy="60325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4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Section Number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95205" y="1927239"/>
              <a:ext cx="647442" cy="60325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81" name="Slide Number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imeslot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Responsible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Duration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DBF30-E737-9B72-7BCE-6AAF7DB68D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C61A8-A907-429E-B74A-EFE0C7185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B9F0A-4D38-6AC3-6ABD-0F8B46103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84AD194-DB6D-51A5-BDB1-27DCA11A0D92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dynamic logo white" descr="{&quot;templafy&quot;:{&quot;id&quot;:&quot;3597c04d-a1d4-4db2-9518-94d467de3247&quot;}}" title="Form.PLogoChoice.PLogoInsertionWhite">
            <a:extLst>
              <a:ext uri="{FF2B5EF4-FFF2-40B4-BE49-F238E27FC236}">
                <a16:creationId xmlns:a16="http://schemas.microsoft.com/office/drawing/2014/main" id="{4C8B24A5-6FA4-69B5-BF18-CC32917C434E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342951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B82AC4B4-CADE-20C1-7FDB-8AAC5E43A4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428452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US" sz="9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US" altLang="da-DK" sz="90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6" name="Text Box 2">
            <a:extLst>
              <a:ext uri="{FF2B5EF4-FFF2-40B4-BE49-F238E27FC236}">
                <a16:creationId xmlns:a16="http://schemas.microsoft.com/office/drawing/2014/main" id="{BA76E542-DB9C-D84A-C66E-A0AE87C4F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434082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XT STYLES</a:t>
            </a:r>
            <a:endParaRPr lang="en-US" altLang="da-DK" sz="16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US" altLang="da-DK" sz="90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F7E2418-BDC7-BE7A-66D4-F96CC03BA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7579" y="3143286"/>
            <a:ext cx="257143" cy="285714"/>
          </a:xfrm>
          <a:prstGeom prst="rect">
            <a:avLst/>
          </a:prstGeom>
        </p:spPr>
      </p:pic>
      <p:pic>
        <p:nvPicPr>
          <p:cNvPr id="8" name="Picture 29">
            <a:extLst>
              <a:ext uri="{FF2B5EF4-FFF2-40B4-BE49-F238E27FC236}">
                <a16:creationId xmlns:a16="http://schemas.microsoft.com/office/drawing/2014/main" id="{12752743-2485-3862-B5EC-789D88B1C9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20" y="2420103"/>
            <a:ext cx="457143" cy="257143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0E9AB818-AB04-348D-8000-48224FE3F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254412" y="2939262"/>
            <a:ext cx="341204" cy="321707"/>
          </a:xfrm>
          <a:prstGeom prst="rect">
            <a:avLst/>
          </a:prstGeom>
        </p:spPr>
      </p:pic>
      <p:pic>
        <p:nvPicPr>
          <p:cNvPr id="10" name="Picture 16">
            <a:extLst>
              <a:ext uri="{FF2B5EF4-FFF2-40B4-BE49-F238E27FC236}">
                <a16:creationId xmlns:a16="http://schemas.microsoft.com/office/drawing/2014/main" id="{92365D11-E7F8-7109-B971-EED59FB60B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74001" y="4133838"/>
            <a:ext cx="328881" cy="505501"/>
          </a:xfrm>
          <a:prstGeom prst="rect">
            <a:avLst/>
          </a:prstGeom>
        </p:spPr>
      </p:pic>
      <p:pic>
        <p:nvPicPr>
          <p:cNvPr id="11" name="Picture 20">
            <a:extLst>
              <a:ext uri="{FF2B5EF4-FFF2-40B4-BE49-F238E27FC236}">
                <a16:creationId xmlns:a16="http://schemas.microsoft.com/office/drawing/2014/main" id="{FB15E05D-9E3B-A123-4428-C4E65ACB7E2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74001" y="5461991"/>
            <a:ext cx="538465" cy="172841"/>
          </a:xfrm>
          <a:prstGeom prst="rect">
            <a:avLst/>
          </a:prstGeom>
        </p:spPr>
      </p:pic>
      <p:pic>
        <p:nvPicPr>
          <p:cNvPr id="12" name="Picture 19">
            <a:extLst>
              <a:ext uri="{FF2B5EF4-FFF2-40B4-BE49-F238E27FC236}">
                <a16:creationId xmlns:a16="http://schemas.microsoft.com/office/drawing/2014/main" id="{BD89D20E-1919-3687-114A-C7E9F348C9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10433" y="3749002"/>
            <a:ext cx="313788" cy="543900"/>
          </a:xfrm>
          <a:prstGeom prst="rect">
            <a:avLst/>
          </a:prstGeom>
        </p:spPr>
      </p:pic>
      <p:sp>
        <p:nvSpPr>
          <p:cNvPr id="13" name="Text Box 4">
            <a:extLst>
              <a:ext uri="{FF2B5EF4-FFF2-40B4-BE49-F238E27FC236}">
                <a16:creationId xmlns:a16="http://schemas.microsoft.com/office/drawing/2014/main" id="{DAFE49F7-8BE5-96E8-15D6-5BCD09854B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428452"/>
            <a:ext cx="235824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Insert predefined slides and elements. Click the blue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emplafy 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button and choose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s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 and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 elements 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in the Templafy pane on the right side of the screen.</a:t>
            </a:r>
            <a:br>
              <a:rPr kumimoji="0" lang="en-US" altLang="da-DK" sz="16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endParaRPr lang="en-US" sz="1600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EADER </a:t>
            </a: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Fast overskrift">
            <a:extLst>
              <a:ext uri="{FF2B5EF4-FFF2-40B4-BE49-F238E27FC236}">
                <a16:creationId xmlns:a16="http://schemas.microsoft.com/office/drawing/2014/main" id="{8E33FDE5-8E17-7F8D-BC99-486DA774F52E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200" b="0" noProof="1">
                <a:solidFill>
                  <a:srgbClr val="001965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3892759-C4B6-4BDD-8735-886F2E05EE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0" y="4897450"/>
            <a:ext cx="475428" cy="1767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1740165-4EB8-F65C-8E17-DF7AB9E572E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029" b="2593"/>
          <a:stretch/>
        </p:blipFill>
        <p:spPr>
          <a:xfrm>
            <a:off x="7183300" y="1664025"/>
            <a:ext cx="1046300" cy="51914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3B219DD-4D39-78A1-267E-BE359226E01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9458" b="2593"/>
          <a:stretch/>
        </p:blipFill>
        <p:spPr>
          <a:xfrm>
            <a:off x="7183300" y="5730260"/>
            <a:ext cx="340068" cy="5191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B48F98-737E-2B07-5676-868E5F9E8A4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9458" b="2593"/>
          <a:stretch/>
        </p:blipFill>
        <p:spPr>
          <a:xfrm>
            <a:off x="11021150" y="1980243"/>
            <a:ext cx="340068" cy="519148"/>
          </a:xfrm>
          <a:prstGeom prst="rect">
            <a:avLst/>
          </a:prstGeom>
        </p:spPr>
      </p:pic>
      <p:sp>
        <p:nvSpPr>
          <p:cNvPr id="19" name="Text Box 4">
            <a:extLst>
              <a:ext uri="{FF2B5EF4-FFF2-40B4-BE49-F238E27FC236}">
                <a16:creationId xmlns:a16="http://schemas.microsoft.com/office/drawing/2014/main" id="{53B1BADF-59C2-569F-DD8D-299311735F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4659" y="5461991"/>
            <a:ext cx="2358243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EMPL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blu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 and click on ‘Find template’ in the bottom of the Templafy pane on the right side of the screen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.</a:t>
            </a:r>
            <a:endParaRPr lang="en-US" altLang="da-DK" sz="9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 dirty="0">
                <a:solidFill>
                  <a:schemeClr val="bg1"/>
                </a:solidFill>
              </a:rPr>
              <a:t>If you see any </a:t>
            </a:r>
            <a:r>
              <a:rPr lang="en-US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 dirty="0">
                <a:solidFill>
                  <a:schemeClr val="bg1"/>
                </a:solidFill>
              </a:rPr>
              <a:t>one</a:t>
            </a:r>
            <a:r>
              <a:rPr lang="en-US" sz="4400" b="1" i="1" noProof="0" dirty="0">
                <a:solidFill>
                  <a:schemeClr val="bg1"/>
                </a:solidFill>
              </a:rPr>
              <a:t>,</a:t>
            </a:r>
            <a:br>
              <a:rPr lang="en-US" sz="4400" b="0" i="0" noProof="0" dirty="0">
                <a:solidFill>
                  <a:schemeClr val="bg1"/>
                </a:solidFill>
              </a:rPr>
            </a:br>
            <a:r>
              <a:rPr lang="en-US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US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 dirty="0">
                <a:solidFill>
                  <a:schemeClr val="bg1"/>
                </a:solidFill>
              </a:rPr>
            </a:br>
            <a:br>
              <a:rPr lang="en-US" sz="2800" b="0" noProof="0" dirty="0">
                <a:solidFill>
                  <a:schemeClr val="bg1"/>
                </a:solidFill>
              </a:rPr>
            </a:br>
            <a:endParaRPr lang="en-US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 dirty="0">
                <a:solidFill>
                  <a:schemeClr val="bg1"/>
                </a:solidFill>
              </a:rPr>
              <a:t>Do not use </a:t>
            </a:r>
            <a:endParaRPr lang="en-US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 dirty="0">
                <a:solidFill>
                  <a:schemeClr val="bg1"/>
                </a:solidFill>
              </a:rPr>
            </a:br>
            <a:endParaRPr lang="en-US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4B383-BF7D-4411-BD45-F0A19E2E0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63E1FA-690B-4821-905F-8A63D30219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EB50CE-DD1E-4A3F-BDC5-8A2FF0EFF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A0068A-8F38-41B6-931F-5E71C750B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3E4E13-CBC3-4A5C-9368-BB1DF9119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7287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919D8-5CD9-44B7-B78A-6BE9611D8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71624-4126-404C-BC5F-FDCAD3B51C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431D67-5C7D-4DD8-AFEC-C352AC10D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1200D6-5F4F-48F2-906B-F527D316D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6D4295-39C3-48CA-921C-542F3F412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8967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7263-411A-4A28-821E-9D5A3BA3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9E102F-B6EA-4F69-BD61-1F5E6462F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624048-E8B3-4BE3-B56D-17CECD3BE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6FE480-4107-469D-9E1F-063B012A0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D0844-53DF-43C8-BD4A-CDED69B49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08971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0544F-55C0-4E9E-A3F0-2A98951F5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028FAE-321A-427D-BBAF-4A22C49CB0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287EC-3235-418E-8D2C-6BBF4D7519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7CCBB6-4201-4885-9B52-F46BFAE6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3D2CE8-D858-4B7F-BC76-BB7A83EC0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9684F2-9FC1-4367-BD84-823574180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38846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9A53B-3920-4789-8E76-34909B57E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F5CAA-39A2-4FCE-8849-0BEEBC4DD8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69E45A-7E49-4AA6-AAAB-C08FE6F09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316258-93EF-4694-9BC3-A1EA110562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992FFD-720A-4F6B-8AF1-32AA9E3F54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57770C-BD84-4C79-9CCA-98CA3739A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512D35-6DB1-4450-BD38-D6ABD3DF0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2CB5B8-CD53-4174-BF10-435AEFDC5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4552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41B7-B1EF-4EC4-AF80-EEB0F6390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B0111D-6F7C-41C9-A93B-F42E2E65E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C9A014-6B19-44FC-93A0-F247D12B7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87EA35-EFED-461C-A600-A6E508E4E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79107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ynamic logo" descr="{&quot;templafy&quot;:{&quot;id&quot;:&quot;e14c1e8b-e5f8-4300-ad3b-146d5f4e19b1&quot;}}" title="Form.PLogoChoice.PLogoInsertion">
            <a:extLst>
              <a:ext uri="{FF2B5EF4-FFF2-40B4-BE49-F238E27FC236}">
                <a16:creationId xmlns:a16="http://schemas.microsoft.com/office/drawing/2014/main" id="{519FA106-F411-F9C9-D449-308F55049C8F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338c16ac-f273-427c-872a-10119817d4de&quot;}}" title="Form.PLogoChoice.PLogoInsertion">
            <a:extLst>
              <a:ext uri="{FF2B5EF4-FFF2-40B4-BE49-F238E27FC236}">
                <a16:creationId xmlns:a16="http://schemas.microsoft.com/office/drawing/2014/main" id="{6031507D-6644-A3B6-BBED-4B812C95A40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78854A-D471-4E58-8979-1EE815663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B8B67B-966F-437F-9B88-A599A8ECA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1BB8FF-F2A5-49ED-B25A-FFF7633AC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1699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801FE9-EF3A-4A7B-8722-C48F0C6AB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809F52-6A39-4945-917A-DC8EB6498C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5D292A-3993-4AC5-8250-D310CE4C75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F6A96C-C9D7-4F21-AB70-4A20F7C5CD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85D62E-354D-4623-97A5-476E9ABF8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3D0546-AE5F-4F13-AECD-24D14BC83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9928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93681-3067-4E4A-B81D-A0CB4C737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1F9A73-6FE2-412A-8F47-CB9DC350B5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3F7162-749A-4B53-9A92-A4DE6D24AC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FE89BC-6619-4629-BE6C-37066492F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064BD1-2228-46F6-BA60-1313813CD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32F678-BD85-43E0-BA03-330DE5476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2755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3C01-42E8-4F0E-800F-D7897B58A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ADD477-D1BA-4964-B3EA-04A1A27C35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ABF27A-C032-4111-963B-F7D0F2026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73F9E-7E1F-4C51-9FDA-22AEF3943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C6B90-B83D-4522-96F2-7CFA0F385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7261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BDB2CD-5422-422A-A605-D8EEDF25F6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612B80-86F9-4BB3-AC05-2AB4A5CFC7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5667B-1836-4AD0-8965-E946C53E7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36771-0CE5-4468-B541-8F09E0F15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354E8-F61E-49CB-9F00-AC82D6420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3644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A6D5E951-B21C-4F1D-B5EA-686E6DDB8D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53A4FBD-AF1D-4E0A-A4FD-352A6BFE36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795885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  <a:latin typeface="Adelle Sans" panose="02000503000000020004" pitchFamily="50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EF6B7EA-CD42-4BC2-A7DC-DCDE8C5D42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23242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9" name="Bildobjekt 8" descr="En bild som visar tecken&#10;&#10;Automatiskt genererad beskrivning">
            <a:extLst>
              <a:ext uri="{FF2B5EF4-FFF2-40B4-BE49-F238E27FC236}">
                <a16:creationId xmlns:a16="http://schemas.microsoft.com/office/drawing/2014/main" id="{BBD5F12F-1AB3-4092-BC32-AFA69CA57D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127" y="301922"/>
            <a:ext cx="3285745" cy="3126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288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47D9B4A-6546-4B8F-82EC-F77D3DD7E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12429E4-B7D7-4A15-AAFB-4A5A7034AF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036859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C8A2CE8-238E-4748-8B25-511FC1643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0E72981-136C-4F5B-9594-4E8C1177A8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852737"/>
            <a:ext cx="10515600" cy="300459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466652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samt 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5C64640-6F7D-4EE1-8000-D8985D9D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AB74D529-4D9F-49C7-86C6-0ABA57960D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792288"/>
            <a:ext cx="10515600" cy="3448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sv-SE" dirty="0"/>
              <a:t>Lägg till din text…</a:t>
            </a:r>
          </a:p>
        </p:txBody>
      </p:sp>
    </p:spTree>
    <p:extLst>
      <p:ext uri="{BB962C8B-B14F-4D97-AF65-F5344CB8AC3E}">
        <p14:creationId xmlns:p14="http://schemas.microsoft.com/office/powerpoint/2010/main" val="3269711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logo vänster, text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4D080F2-6ADF-4C10-9688-9A99A9A24F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AB74D529-4D9F-49C7-86C6-0ABA57960D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8437" y="1615656"/>
            <a:ext cx="4649638" cy="34480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Lägg till din text…</a:t>
            </a:r>
          </a:p>
        </p:txBody>
      </p:sp>
      <p:pic>
        <p:nvPicPr>
          <p:cNvPr id="5" name="Bildobjekt 4" descr="En bild som visar tecken&#10;&#10;Automatiskt genererad beskrivning">
            <a:extLst>
              <a:ext uri="{FF2B5EF4-FFF2-40B4-BE49-F238E27FC236}">
                <a16:creationId xmlns:a16="http://schemas.microsoft.com/office/drawing/2014/main" id="{2D9AE29F-F3AA-41A4-AF8C-44F1916F16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28" y="961018"/>
            <a:ext cx="4998942" cy="475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700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dynamic logo white" descr="{&quot;templafy&quot;:{&quot;id&quot;:&quot;80599211-5dd2-40f7-9253-167e1299118d&quot;}}" title="Form.PLogoChoice.PLogoInsertionWhite">
            <a:extLst>
              <a:ext uri="{FF2B5EF4-FFF2-40B4-BE49-F238E27FC236}">
                <a16:creationId xmlns:a16="http://schemas.microsoft.com/office/drawing/2014/main" id="{6ED7F931-BA7C-4B68-C51D-0E73BD0BBFC9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samt fakta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5C64640-6F7D-4EE1-8000-D8985D9D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DFC32242-2CA1-4126-88B6-7E296C771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59112" y="1690688"/>
            <a:ext cx="6073775" cy="3557587"/>
          </a:xfrm>
          <a:solidFill>
            <a:schemeClr val="accent3"/>
          </a:solidFill>
          <a:effectLst>
            <a:softEdge rad="0"/>
          </a:effectLst>
          <a:scene3d>
            <a:camera prst="orthographicFront"/>
            <a:lightRig rig="threePt" dir="t"/>
          </a:scene3d>
          <a:sp3d>
            <a:bevelT w="0"/>
          </a:sp3d>
        </p:spPr>
        <p:txBody>
          <a:bodyPr lIns="180000" tIns="180000" rIns="180000" bIns="18000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340445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samt dubbla fakta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5C64640-6F7D-4EE1-8000-D8985D9D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DFC32242-2CA1-4126-88B6-7E296C771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1" y="1690688"/>
            <a:ext cx="4863860" cy="3557587"/>
          </a:xfrm>
          <a:solidFill>
            <a:schemeClr val="accent3"/>
          </a:solidFill>
          <a:effectLst>
            <a:softEdge rad="0"/>
          </a:effectLst>
          <a:scene3d>
            <a:camera prst="orthographicFront"/>
            <a:lightRig rig="threePt" dir="t"/>
          </a:scene3d>
          <a:sp3d>
            <a:bevelT w="0"/>
          </a:sp3d>
        </p:spPr>
        <p:txBody>
          <a:bodyPr lIns="180000" tIns="180000" rIns="180000" bIns="18000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text 4">
            <a:extLst>
              <a:ext uri="{FF2B5EF4-FFF2-40B4-BE49-F238E27FC236}">
                <a16:creationId xmlns:a16="http://schemas.microsoft.com/office/drawing/2014/main" id="{C449C993-0AF3-43AB-9A58-04A1FB39D6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89941" y="1690688"/>
            <a:ext cx="4863860" cy="3557587"/>
          </a:xfrm>
          <a:solidFill>
            <a:schemeClr val="accent3"/>
          </a:solidFill>
          <a:effectLst>
            <a:softEdge rad="0"/>
          </a:effectLst>
          <a:scene3d>
            <a:camera prst="orthographicFront"/>
            <a:lightRig rig="threePt" dir="t"/>
          </a:scene3d>
          <a:sp3d>
            <a:bevelT w="0"/>
          </a:sp3d>
        </p:spPr>
        <p:txBody>
          <a:bodyPr lIns="180000" tIns="180000" rIns="180000" bIns="18000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645050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0316C5C-A73C-4D6D-AA94-A3BFA6792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D568856-C920-46B1-BABF-E6DA9CCA0B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D58792E-B1EA-4FB9-859A-1906FE46E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990637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1F1DB42-833E-4FC7-A021-E932390D8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37491D3-DE53-4128-ACA6-500BB20BC4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B2D09FCE-61E9-4F48-8F02-BB929836B8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23F35FA4-1843-44C3-BF8E-57AD71C1AC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B2EF35D8-114A-4ABF-A92B-030D01F14F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0054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BDDB68D-85B2-438B-9EA8-86DB25BF84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9F3317F-DD83-48E2-A3C0-8608F0CF2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89480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8" name="Bildobjekt 7" descr="En bild som visar tecken&#10;&#10;Automatiskt genererad beskrivning">
            <a:extLst>
              <a:ext uri="{FF2B5EF4-FFF2-40B4-BE49-F238E27FC236}">
                <a16:creationId xmlns:a16="http://schemas.microsoft.com/office/drawing/2014/main" id="{C54CC665-7FF6-4F47-8239-ABE1187E2C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466" y="271195"/>
            <a:ext cx="2769068" cy="263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481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51655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AE5D20-33E9-4345-9E8F-C67F4CE56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814449F-C617-4B1F-8DF3-BA5535B283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284CE0E3-4B98-4036-8B54-EE4097660D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847888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C802D11-14E7-4ACC-BFDE-1305691C9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105A1ED8-9C41-432A-AC82-DBE63A9B36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0768C95-6234-4AB4-BD0C-13DCF3F4FA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21843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CE442C3-8D37-4EFF-A16B-A9C388413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6F455EF8-74A7-45E9-805B-824B3F7D2B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289555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FE59AE88-9C9D-4CE4-A7A8-FD3342A98A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847088B4-7826-4264-8A8F-B5A3F330D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5020219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dynamic logo" descr="{&quot;templafy&quot;:{&quot;id&quot;:&quot;da84e5de-a58e-41d9-8944-b7faf5871c01&quot;}}" title="Form.PLogoChoice.PLogoInsertion">
            <a:extLst>
              <a:ext uri="{FF2B5EF4-FFF2-40B4-BE49-F238E27FC236}">
                <a16:creationId xmlns:a16="http://schemas.microsoft.com/office/drawing/2014/main" id="{3812ECF8-B6AF-45BC-FBA9-ACA31DD77C6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5" name="dynamic year 100" descr="{&quot;templafy&quot;:{&quot;id&quot;:&quot;168bd182-9ef5-4e3d-b512-1d83c5fd765c&quot;}}" hidden="1" title="Form.PLogoChoice.PLogoInsertion">
            <a:extLst>
              <a:ext uri="{FF2B5EF4-FFF2-40B4-BE49-F238E27FC236}">
                <a16:creationId xmlns:a16="http://schemas.microsoft.com/office/drawing/2014/main" id="{97129AA5-5F6C-4D56-9FE7-7F7D411655B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7 April 20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5" name="dynamic year 100" descr="{&quot;templafy&quot;:{&quot;id&quot;:&quot;73490c22-471e-4781-8099-e9f104573d1e&quot;}}" title="Form.PLogoChoice.PLogoInsertion">
            <a:extLst>
              <a:ext uri="{FF2B5EF4-FFF2-40B4-BE49-F238E27FC236}">
                <a16:creationId xmlns:a16="http://schemas.microsoft.com/office/drawing/2014/main" id="{289874BE-970D-D4C8-9E09-95F2102C6FC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dynamic logo" descr="{&quot;templafy&quot;:{&quot;id&quot;:&quot;33916994-bb0c-44ec-a8d4-4da1879bf7d0&quot;}}" title="Form.PLogoChoice.PLogoInsertion">
            <a:extLst>
              <a:ext uri="{FF2B5EF4-FFF2-40B4-BE49-F238E27FC236}">
                <a16:creationId xmlns:a16="http://schemas.microsoft.com/office/drawing/2014/main" id="{E9B6A2DE-5699-838D-85ED-F231108A9E4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bg bwMode="grayWhite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dynamic logo" descr="{&quot;templafy&quot;:{&quot;id&quot;:&quot;6bb09c38-291a-40fc-9f21-322598dbf764&quot;}}" title="Form.PLogoChoice.PLogoInsertion">
            <a:extLst>
              <a:ext uri="{FF2B5EF4-FFF2-40B4-BE49-F238E27FC236}">
                <a16:creationId xmlns:a16="http://schemas.microsoft.com/office/drawing/2014/main" id="{DBA87621-FA2E-E421-4CC1-24DDCD64E24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194304f5-a506-44bf-af87-2a6a96f3de78&quot;}}" title="Form.PLogoChoice.PLogoInsertion">
            <a:extLst>
              <a:ext uri="{FF2B5EF4-FFF2-40B4-BE49-F238E27FC236}">
                <a16:creationId xmlns:a16="http://schemas.microsoft.com/office/drawing/2014/main" id="{51093488-6AB7-37A0-89EA-AB79F453A22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dynamic logo white" descr="{&quot;templafy&quot;:{&quot;id&quot;:&quot;2dd1c52b-e840-4584-af80-3688139ce934&quot;}}" title="Form.PLogoChoice.PLogoInsertionWhite">
            <a:extLst>
              <a:ext uri="{FF2B5EF4-FFF2-40B4-BE49-F238E27FC236}">
                <a16:creationId xmlns:a16="http://schemas.microsoft.com/office/drawing/2014/main" id="{87CB8881-FDC3-C4D2-8ABE-C8D9F50F5E7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83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63" Type="http://schemas.openxmlformats.org/officeDocument/2006/relationships/tags" Target="../tags/tag29.xml"/><Relationship Id="rId68" Type="http://schemas.openxmlformats.org/officeDocument/2006/relationships/tags" Target="../tags/tag34.xml"/><Relationship Id="rId84" Type="http://schemas.openxmlformats.org/officeDocument/2006/relationships/tags" Target="../tags/tag50.xml"/><Relationship Id="rId89" Type="http://schemas.openxmlformats.org/officeDocument/2006/relationships/tags" Target="../tags/tag55.xml"/><Relationship Id="rId112" Type="http://schemas.openxmlformats.org/officeDocument/2006/relationships/tags" Target="../tags/tag78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73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53" Type="http://schemas.openxmlformats.org/officeDocument/2006/relationships/tags" Target="../tags/tag19.xml"/><Relationship Id="rId58" Type="http://schemas.openxmlformats.org/officeDocument/2006/relationships/tags" Target="../tags/tag24.xml"/><Relationship Id="rId74" Type="http://schemas.openxmlformats.org/officeDocument/2006/relationships/tags" Target="../tags/tag40.xml"/><Relationship Id="rId79" Type="http://schemas.openxmlformats.org/officeDocument/2006/relationships/tags" Target="../tags/tag45.xml"/><Relationship Id="rId102" Type="http://schemas.openxmlformats.org/officeDocument/2006/relationships/tags" Target="../tags/tag68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56.xml"/><Relationship Id="rId95" Type="http://schemas.openxmlformats.org/officeDocument/2006/relationships/tags" Target="../tags/tag6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64" Type="http://schemas.openxmlformats.org/officeDocument/2006/relationships/tags" Target="../tags/tag30.xml"/><Relationship Id="rId69" Type="http://schemas.openxmlformats.org/officeDocument/2006/relationships/tags" Target="../tags/tag35.xml"/><Relationship Id="rId113" Type="http://schemas.openxmlformats.org/officeDocument/2006/relationships/tags" Target="../tags/tag79.xml"/><Relationship Id="rId118" Type="http://schemas.openxmlformats.org/officeDocument/2006/relationships/tags" Target="../tags/tag84.xml"/><Relationship Id="rId80" Type="http://schemas.openxmlformats.org/officeDocument/2006/relationships/tags" Target="../tags/tag46.xml"/><Relationship Id="rId85" Type="http://schemas.openxmlformats.org/officeDocument/2006/relationships/tags" Target="../tags/tag51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59" Type="http://schemas.openxmlformats.org/officeDocument/2006/relationships/tags" Target="../tags/tag25.xml"/><Relationship Id="rId103" Type="http://schemas.openxmlformats.org/officeDocument/2006/relationships/tags" Target="../tags/tag69.xml"/><Relationship Id="rId108" Type="http://schemas.openxmlformats.org/officeDocument/2006/relationships/tags" Target="../tags/tag74.xml"/><Relationship Id="rId54" Type="http://schemas.openxmlformats.org/officeDocument/2006/relationships/tags" Target="../tags/tag20.xml"/><Relationship Id="rId70" Type="http://schemas.openxmlformats.org/officeDocument/2006/relationships/tags" Target="../tags/tag36.xml"/><Relationship Id="rId75" Type="http://schemas.openxmlformats.org/officeDocument/2006/relationships/tags" Target="../tags/tag41.xml"/><Relationship Id="rId91" Type="http://schemas.openxmlformats.org/officeDocument/2006/relationships/tags" Target="../tags/tag57.xml"/><Relationship Id="rId96" Type="http://schemas.openxmlformats.org/officeDocument/2006/relationships/tags" Target="../tags/tag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5.xml"/><Relationship Id="rId114" Type="http://schemas.openxmlformats.org/officeDocument/2006/relationships/tags" Target="../tags/tag80.xml"/><Relationship Id="rId119" Type="http://schemas.openxmlformats.org/officeDocument/2006/relationships/tags" Target="../tags/tag85.xml"/><Relationship Id="rId44" Type="http://schemas.openxmlformats.org/officeDocument/2006/relationships/tags" Target="../tags/tag10.xml"/><Relationship Id="rId60" Type="http://schemas.openxmlformats.org/officeDocument/2006/relationships/tags" Target="../tags/tag26.xml"/><Relationship Id="rId65" Type="http://schemas.openxmlformats.org/officeDocument/2006/relationships/tags" Target="../tags/tag31.xml"/><Relationship Id="rId81" Type="http://schemas.openxmlformats.org/officeDocument/2006/relationships/tags" Target="../tags/tag47.xml"/><Relationship Id="rId86" Type="http://schemas.openxmlformats.org/officeDocument/2006/relationships/tags" Target="../tags/tag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5.xml"/><Relationship Id="rId109" Type="http://schemas.openxmlformats.org/officeDocument/2006/relationships/tags" Target="../tags/tag75.xml"/><Relationship Id="rId34" Type="http://schemas.openxmlformats.org/officeDocument/2006/relationships/theme" Target="../theme/theme1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6" Type="http://schemas.openxmlformats.org/officeDocument/2006/relationships/tags" Target="../tags/tag42.xml"/><Relationship Id="rId97" Type="http://schemas.openxmlformats.org/officeDocument/2006/relationships/tags" Target="../tags/tag63.xml"/><Relationship Id="rId104" Type="http://schemas.openxmlformats.org/officeDocument/2006/relationships/tags" Target="../tags/tag70.xml"/><Relationship Id="rId120" Type="http://schemas.openxmlformats.org/officeDocument/2006/relationships/tags" Target="../tags/tag86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7.xml"/><Relationship Id="rId92" Type="http://schemas.openxmlformats.org/officeDocument/2006/relationships/tags" Target="../tags/tag58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66" Type="http://schemas.openxmlformats.org/officeDocument/2006/relationships/tags" Target="../tags/tag32.xml"/><Relationship Id="rId87" Type="http://schemas.openxmlformats.org/officeDocument/2006/relationships/tags" Target="../tags/tag53.xml"/><Relationship Id="rId110" Type="http://schemas.openxmlformats.org/officeDocument/2006/relationships/tags" Target="../tags/tag76.xml"/><Relationship Id="rId115" Type="http://schemas.openxmlformats.org/officeDocument/2006/relationships/tags" Target="../tags/tag81.xml"/><Relationship Id="rId61" Type="http://schemas.openxmlformats.org/officeDocument/2006/relationships/tags" Target="../tags/tag27.xml"/><Relationship Id="rId82" Type="http://schemas.openxmlformats.org/officeDocument/2006/relationships/tags" Target="../tags/tag4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56" Type="http://schemas.openxmlformats.org/officeDocument/2006/relationships/tags" Target="../tags/tag22.xml"/><Relationship Id="rId77" Type="http://schemas.openxmlformats.org/officeDocument/2006/relationships/tags" Target="../tags/tag43.xml"/><Relationship Id="rId100" Type="http://schemas.openxmlformats.org/officeDocument/2006/relationships/tags" Target="../tags/tag66.xml"/><Relationship Id="rId105" Type="http://schemas.openxmlformats.org/officeDocument/2006/relationships/tags" Target="../tags/tag7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72" Type="http://schemas.openxmlformats.org/officeDocument/2006/relationships/tags" Target="../tags/tag38.xml"/><Relationship Id="rId93" Type="http://schemas.openxmlformats.org/officeDocument/2006/relationships/tags" Target="../tags/tag59.xml"/><Relationship Id="rId98" Type="http://schemas.openxmlformats.org/officeDocument/2006/relationships/tags" Target="../tags/tag64.xml"/><Relationship Id="rId121" Type="http://schemas.openxmlformats.org/officeDocument/2006/relationships/tags" Target="../tags/tag87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2.xml"/><Relationship Id="rId67" Type="http://schemas.openxmlformats.org/officeDocument/2006/relationships/tags" Target="../tags/tag33.xml"/><Relationship Id="rId116" Type="http://schemas.openxmlformats.org/officeDocument/2006/relationships/tags" Target="../tags/tag8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62" Type="http://schemas.openxmlformats.org/officeDocument/2006/relationships/tags" Target="../tags/tag28.xml"/><Relationship Id="rId83" Type="http://schemas.openxmlformats.org/officeDocument/2006/relationships/tags" Target="../tags/tag49.xml"/><Relationship Id="rId88" Type="http://schemas.openxmlformats.org/officeDocument/2006/relationships/tags" Target="../tags/tag54.xml"/><Relationship Id="rId111" Type="http://schemas.openxmlformats.org/officeDocument/2006/relationships/tags" Target="../tags/tag77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2.xml"/><Relationship Id="rId57" Type="http://schemas.openxmlformats.org/officeDocument/2006/relationships/tags" Target="../tags/tag23.xml"/><Relationship Id="rId106" Type="http://schemas.openxmlformats.org/officeDocument/2006/relationships/tags" Target="../tags/tag7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18.xml"/><Relationship Id="rId73" Type="http://schemas.openxmlformats.org/officeDocument/2006/relationships/tags" Target="../tags/tag39.xml"/><Relationship Id="rId78" Type="http://schemas.openxmlformats.org/officeDocument/2006/relationships/tags" Target="../tags/tag44.xml"/><Relationship Id="rId94" Type="http://schemas.openxmlformats.org/officeDocument/2006/relationships/tags" Target="../tags/tag60.xml"/><Relationship Id="rId99" Type="http://schemas.openxmlformats.org/officeDocument/2006/relationships/tags" Target="../tags/tag65.xml"/><Relationship Id="rId101" Type="http://schemas.openxmlformats.org/officeDocument/2006/relationships/tags" Target="../tags/tag67.xml"/><Relationship Id="rId122" Type="http://schemas.openxmlformats.org/officeDocument/2006/relationships/tags" Target="../tags/tag8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, Header</a:t>
            </a:r>
          </a:p>
          <a:p>
            <a:pPr lvl="4"/>
            <a:r>
              <a:rPr lang="en-US" noProof="0" dirty="0"/>
              <a:t>Level 5, Body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, Small Header</a:t>
            </a:r>
          </a:p>
          <a:p>
            <a:pPr lvl="7"/>
            <a:r>
              <a:rPr lang="en-US" noProof="0" dirty="0"/>
              <a:t>Level 8, Small Body</a:t>
            </a:r>
          </a:p>
          <a:p>
            <a:pPr lvl="8"/>
            <a:r>
              <a:rPr lang="en-US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00" dirty="0">
                <a:solidFill>
                  <a:schemeClr val="tx2"/>
                </a:solidFill>
              </a:rPr>
              <a:t>Novo Nordisk</a:t>
            </a:r>
            <a:r>
              <a:rPr lang="en-US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7" name="dynamic logo" descr="{&quot;templafy&quot;:{&quot;id&quot;:&quot;c9c227f4-8c26-4e0b-8322-1349491b018a&quot;}}" title="Form.PLogoChoice.PLogoInsertion">
            <a:extLst>
              <a:ext uri="{FF2B5EF4-FFF2-40B4-BE49-F238E27FC236}">
                <a16:creationId xmlns:a16="http://schemas.microsoft.com/office/drawing/2014/main" id="{AB8085D7-A93F-4552-0ECF-15ED05B26B3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802" r:id="rId11"/>
    <p:sldLayoutId id="2147483804" r:id="rId12"/>
    <p:sldLayoutId id="2147483797" r:id="rId13"/>
    <p:sldLayoutId id="2147483732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90" r:id="rId21"/>
    <p:sldLayoutId id="2147483793" r:id="rId22"/>
    <p:sldLayoutId id="2147483798" r:id="rId23"/>
    <p:sldLayoutId id="2147483794" r:id="rId24"/>
    <p:sldLayoutId id="2147483795" r:id="rId25"/>
    <p:sldLayoutId id="2147483743" r:id="rId26"/>
    <p:sldLayoutId id="2147483744" r:id="rId27"/>
    <p:sldLayoutId id="2147483803" r:id="rId28"/>
    <p:sldLayoutId id="2147483805" r:id="rId29"/>
    <p:sldLayoutId id="2147483807" r:id="rId30"/>
    <p:sldLayoutId id="2147483808" r:id="rId31"/>
    <p:sldLayoutId id="2147483762" r:id="rId32"/>
    <p:sldLayoutId id="2147483751" r:id="rId3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87B591-9BE6-4587-BA0D-E99C873CA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B09D-A7A5-4E0B-BF9E-FBFA2007A5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536D38-CF9E-4260-8C3F-BA7CE1B8D9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DB289-4AA2-4965-915E-C7571CC38769}" type="datetimeFigureOut">
              <a:rPr lang="en-GB" smtClean="0"/>
              <a:t>07/04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4BB34-95DE-497C-9436-A0966DC7B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1C126-230B-4118-ADC9-F2B52D7F5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BBCBC4-D321-4C6F-B995-A351EC858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18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0098E5CB-A0AB-43E3-A7CB-74D20A42CC40}"/>
              </a:ext>
            </a:extLst>
          </p:cNvPr>
          <p:cNvSpPr/>
          <p:nvPr userDrawn="1"/>
        </p:nvSpPr>
        <p:spPr>
          <a:xfrm>
            <a:off x="0" y="6222380"/>
            <a:ext cx="12192000" cy="6356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743B7691-F5FD-45C5-B4ED-AEC255753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F77CE30-1255-4708-8728-5D9E47F078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" name="Bildobjekt 8" descr="En bild som visar tecken&#10;&#10;Automatiskt genererad beskrivning">
            <a:extLst>
              <a:ext uri="{FF2B5EF4-FFF2-40B4-BE49-F238E27FC236}">
                <a16:creationId xmlns:a16="http://schemas.microsoft.com/office/drawing/2014/main" id="{B9C30CDC-FF7E-46DF-801C-09635A07F55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516" y="5349999"/>
            <a:ext cx="1490967" cy="141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316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delle Sans" panose="02000503000000020004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delle Sans" panose="02000503000000020004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delle Sans" panose="02000503000000020004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delle Sans" panose="02000503000000020004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delle Sans" panose="02000503000000020004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delle Sans" panose="02000503000000020004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12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85D53CC1-190F-F4CD-1F78-E7097E128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01" b="16499"/>
          <a:stretch>
            <a:fillRect/>
          </a:stretch>
        </p:blipFill>
        <p:spPr bwMode="auto">
          <a:xfrm>
            <a:off x="20" y="10"/>
            <a:ext cx="12191979" cy="685799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itle 2">
            <a:extLst>
              <a:ext uri="{FF2B5EF4-FFF2-40B4-BE49-F238E27FC236}">
                <a16:creationId xmlns:a16="http://schemas.microsoft.com/office/drawing/2014/main" id="{4A9ADE3C-C3F4-E950-F42A-896065E80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-143302"/>
            <a:ext cx="8652000" cy="1046902"/>
          </a:xfrm>
        </p:spPr>
        <p:txBody>
          <a:bodyPr vert="horz" lIns="0" tIns="0" rIns="0" bIns="144000" rtlCol="0" anchor="b" anchorCtr="0">
            <a:normAutofit/>
          </a:bodyPr>
          <a:lstStyle/>
          <a:p>
            <a:r>
              <a:rPr lang="en-US" kern="1200" dirty="0" err="1">
                <a:latin typeface="+mj-lt"/>
                <a:ea typeface="+mj-ea"/>
                <a:cs typeface="+mj-cs"/>
              </a:rPr>
              <a:t>Föräldramöte</a:t>
            </a:r>
            <a:r>
              <a:rPr lang="en-US" kern="1200" dirty="0">
                <a:latin typeface="+mj-lt"/>
                <a:ea typeface="+mj-ea"/>
                <a:cs typeface="+mj-cs"/>
              </a:rPr>
              <a:t> P1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204323-E78E-5F0D-E592-BFAF9FA50B4B}"/>
              </a:ext>
            </a:extLst>
          </p:cNvPr>
          <p:cNvSpPr txBox="1"/>
          <p:nvPr/>
        </p:nvSpPr>
        <p:spPr>
          <a:xfrm>
            <a:off x="647999" y="3753000"/>
            <a:ext cx="8652001" cy="13091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2000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3E755C31-4C62-4116-B9B6-0C7F46E0847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7" name="dynamic logo white" descr="{&quot;templafy&quot;:{&quot;id&quot;:&quot;dfaf3a11-8330-4f32-8e98-b0fe97385246&quot;}}" title="Form.PLogoChoice.PLogoInsertionWhite">
            <a:extLst>
              <a:ext uri="{FF2B5EF4-FFF2-40B4-BE49-F238E27FC236}">
                <a16:creationId xmlns:a16="http://schemas.microsoft.com/office/drawing/2014/main" id="{ECC5C2B8-1FEB-290B-813D-1123324204A8}"/>
              </a:ext>
            </a:extLst>
          </p:cNvPr>
          <p:cNvSpPr/>
          <p:nvPr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39816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14CE662-896F-4B91-AC3E-A6F3F69CD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14CE662-896F-4B91-AC3E-A6F3F69CD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FBC72BAF-DB7A-4B5D-BDA1-5D61A8D27C80}"/>
              </a:ext>
            </a:extLst>
          </p:cNvPr>
          <p:cNvGrpSpPr/>
          <p:nvPr/>
        </p:nvGrpSpPr>
        <p:grpSpPr>
          <a:xfrm>
            <a:off x="2864601" y="1446154"/>
            <a:ext cx="4736536" cy="4806005"/>
            <a:chOff x="4118290" y="941792"/>
            <a:chExt cx="4736536" cy="480600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7129784-92BB-4512-AECB-0708BD1F2EBF}"/>
                </a:ext>
              </a:extLst>
            </p:cNvPr>
            <p:cNvGrpSpPr/>
            <p:nvPr/>
          </p:nvGrpSpPr>
          <p:grpSpPr>
            <a:xfrm>
              <a:off x="4118290" y="941792"/>
              <a:ext cx="4736536" cy="4689527"/>
              <a:chOff x="4118290" y="941792"/>
              <a:chExt cx="4736536" cy="4689527"/>
            </a:xfrm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51E0EF56-03CA-49AB-A53F-D3ECCF145F7A}"/>
                  </a:ext>
                </a:extLst>
              </p:cNvPr>
              <p:cNvSpPr/>
              <p:nvPr/>
            </p:nvSpPr>
            <p:spPr>
              <a:xfrm rot="8876369">
                <a:off x="6325593" y="941792"/>
                <a:ext cx="1263554" cy="1261010"/>
              </a:xfrm>
              <a:custGeom>
                <a:avLst/>
                <a:gdLst>
                  <a:gd name="connsiteX0" fmla="*/ 774963 w 1263554"/>
                  <a:gd name="connsiteY0" fmla="*/ 1261010 h 1261010"/>
                  <a:gd name="connsiteX1" fmla="*/ 603359 w 1263554"/>
                  <a:gd name="connsiteY1" fmla="*/ 1141070 h 1261010"/>
                  <a:gd name="connsiteX2" fmla="*/ 32150 w 1263554"/>
                  <a:gd name="connsiteY2" fmla="*/ 479108 h 1261010"/>
                  <a:gd name="connsiteX3" fmla="*/ 0 w 1263554"/>
                  <a:gd name="connsiteY3" fmla="*/ 415075 h 1261010"/>
                  <a:gd name="connsiteX4" fmla="*/ 820509 w 1263554"/>
                  <a:gd name="connsiteY4" fmla="*/ 0 h 1261010"/>
                  <a:gd name="connsiteX5" fmla="*/ 833600 w 1263554"/>
                  <a:gd name="connsiteY5" fmla="*/ 26075 h 1261010"/>
                  <a:gd name="connsiteX6" fmla="*/ 1169186 w 1263554"/>
                  <a:gd name="connsiteY6" fmla="*/ 414978 h 1261010"/>
                  <a:gd name="connsiteX7" fmla="*/ 1263554 w 1263554"/>
                  <a:gd name="connsiteY7" fmla="*/ 480936 h 1261010"/>
                  <a:gd name="connsiteX8" fmla="*/ 774963 w 1263554"/>
                  <a:gd name="connsiteY8" fmla="*/ 1261010 h 1261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3554" h="1261010">
                    <a:moveTo>
                      <a:pt x="774963" y="1261010"/>
                    </a:moveTo>
                    <a:lnTo>
                      <a:pt x="603359" y="1141070"/>
                    </a:lnTo>
                    <a:cubicBezTo>
                      <a:pt x="365243" y="955972"/>
                      <a:pt x="173577" y="729822"/>
                      <a:pt x="32150" y="479108"/>
                    </a:cubicBezTo>
                    <a:lnTo>
                      <a:pt x="0" y="415075"/>
                    </a:lnTo>
                    <a:lnTo>
                      <a:pt x="820509" y="0"/>
                    </a:lnTo>
                    <a:lnTo>
                      <a:pt x="833600" y="26075"/>
                    </a:lnTo>
                    <a:cubicBezTo>
                      <a:pt x="916688" y="173370"/>
                      <a:pt x="1029292" y="306233"/>
                      <a:pt x="1169186" y="414978"/>
                    </a:cubicBezTo>
                    <a:lnTo>
                      <a:pt x="1263554" y="480936"/>
                    </a:lnTo>
                    <a:lnTo>
                      <a:pt x="774963" y="12610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EEDF3D3D-7723-4D83-8D6E-88C944BA467A}"/>
                  </a:ext>
                </a:extLst>
              </p:cNvPr>
              <p:cNvSpPr/>
              <p:nvPr/>
            </p:nvSpPr>
            <p:spPr>
              <a:xfrm rot="8876369">
                <a:off x="5534890" y="1054106"/>
                <a:ext cx="1127554" cy="1104852"/>
              </a:xfrm>
              <a:custGeom>
                <a:avLst/>
                <a:gdLst>
                  <a:gd name="connsiteX0" fmla="*/ 0 w 1127554"/>
                  <a:gd name="connsiteY0" fmla="*/ 780074 h 1104852"/>
                  <a:gd name="connsiteX1" fmla="*/ 488591 w 1127554"/>
                  <a:gd name="connsiteY1" fmla="*/ 0 h 1104852"/>
                  <a:gd name="connsiteX2" fmla="*/ 582462 w 1127554"/>
                  <a:gd name="connsiteY2" fmla="*/ 52398 h 1104852"/>
                  <a:gd name="connsiteX3" fmla="*/ 1078839 w 1127554"/>
                  <a:gd name="connsiteY3" fmla="*/ 184585 h 1104852"/>
                  <a:gd name="connsiteX4" fmla="*/ 1127554 w 1127554"/>
                  <a:gd name="connsiteY4" fmla="*/ 185249 h 1104852"/>
                  <a:gd name="connsiteX5" fmla="*/ 1127553 w 1127554"/>
                  <a:gd name="connsiteY5" fmla="*/ 1104852 h 1104852"/>
                  <a:gd name="connsiteX6" fmla="*/ 1021047 w 1127554"/>
                  <a:gd name="connsiteY6" fmla="*/ 1103400 h 1104852"/>
                  <a:gd name="connsiteX7" fmla="*/ 176151 w 1127554"/>
                  <a:gd name="connsiteY7" fmla="*/ 878401 h 1104852"/>
                  <a:gd name="connsiteX8" fmla="*/ 0 w 1127554"/>
                  <a:gd name="connsiteY8" fmla="*/ 780074 h 1104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7554" h="1104852">
                    <a:moveTo>
                      <a:pt x="0" y="780074"/>
                    </a:moveTo>
                    <a:lnTo>
                      <a:pt x="488591" y="0"/>
                    </a:lnTo>
                    <a:lnTo>
                      <a:pt x="582462" y="52398"/>
                    </a:lnTo>
                    <a:cubicBezTo>
                      <a:pt x="741361" y="130798"/>
                      <a:pt x="910049" y="174119"/>
                      <a:pt x="1078839" y="184585"/>
                    </a:cubicBezTo>
                    <a:lnTo>
                      <a:pt x="1127554" y="185249"/>
                    </a:lnTo>
                    <a:lnTo>
                      <a:pt x="1127553" y="1104852"/>
                    </a:lnTo>
                    <a:lnTo>
                      <a:pt x="1021047" y="1103400"/>
                    </a:lnTo>
                    <a:cubicBezTo>
                      <a:pt x="733747" y="1085585"/>
                      <a:pt x="446618" y="1011848"/>
                      <a:pt x="176151" y="878401"/>
                    </a:cubicBezTo>
                    <a:lnTo>
                      <a:pt x="0" y="780074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CAE6F4A-618F-4399-BC9F-325869687AC3}"/>
                  </a:ext>
                </a:extLst>
              </p:cNvPr>
              <p:cNvSpPr/>
              <p:nvPr/>
            </p:nvSpPr>
            <p:spPr>
              <a:xfrm rot="8876369">
                <a:off x="7150853" y="1518121"/>
                <a:ext cx="1055300" cy="1056775"/>
              </a:xfrm>
              <a:custGeom>
                <a:avLst/>
                <a:gdLst>
                  <a:gd name="connsiteX0" fmla="*/ 234792 w 1055300"/>
                  <a:gd name="connsiteY0" fmla="*/ 1056775 h 1056775"/>
                  <a:gd name="connsiteX1" fmla="*/ 190864 w 1055300"/>
                  <a:gd name="connsiteY1" fmla="*/ 969284 h 1056775"/>
                  <a:gd name="connsiteX2" fmla="*/ 0 w 1055300"/>
                  <a:gd name="connsiteY2" fmla="*/ 138559 h 1056775"/>
                  <a:gd name="connsiteX3" fmla="*/ 1890 w 1055300"/>
                  <a:gd name="connsiteY3" fmla="*/ 0 h 1056775"/>
                  <a:gd name="connsiteX4" fmla="*/ 920957 w 1055300"/>
                  <a:gd name="connsiteY4" fmla="*/ 39312 h 1056775"/>
                  <a:gd name="connsiteX5" fmla="*/ 920026 w 1055300"/>
                  <a:gd name="connsiteY5" fmla="*/ 107559 h 1056775"/>
                  <a:gd name="connsiteX6" fmla="*/ 1032159 w 1055300"/>
                  <a:gd name="connsiteY6" fmla="*/ 595609 h 1056775"/>
                  <a:gd name="connsiteX7" fmla="*/ 1055300 w 1055300"/>
                  <a:gd name="connsiteY7" fmla="*/ 641700 h 1056775"/>
                  <a:gd name="connsiteX8" fmla="*/ 234792 w 1055300"/>
                  <a:gd name="connsiteY8" fmla="*/ 1056775 h 1056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5300" h="1056775">
                    <a:moveTo>
                      <a:pt x="234792" y="1056775"/>
                    </a:moveTo>
                    <a:lnTo>
                      <a:pt x="190864" y="969284"/>
                    </a:lnTo>
                    <a:cubicBezTo>
                      <a:pt x="74794" y="707319"/>
                      <a:pt x="9910" y="424914"/>
                      <a:pt x="0" y="138559"/>
                    </a:cubicBezTo>
                    <a:lnTo>
                      <a:pt x="1890" y="0"/>
                    </a:lnTo>
                    <a:lnTo>
                      <a:pt x="920957" y="39312"/>
                    </a:lnTo>
                    <a:lnTo>
                      <a:pt x="920026" y="107559"/>
                    </a:lnTo>
                    <a:cubicBezTo>
                      <a:pt x="925848" y="275793"/>
                      <a:pt x="963968" y="441706"/>
                      <a:pt x="1032159" y="595609"/>
                    </a:cubicBezTo>
                    <a:lnTo>
                      <a:pt x="1055300" y="641700"/>
                    </a:lnTo>
                    <a:lnTo>
                      <a:pt x="234792" y="10567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4A78435-310C-4146-A6F6-9054D4B8556F}"/>
                  </a:ext>
                </a:extLst>
              </p:cNvPr>
              <p:cNvSpPr/>
              <p:nvPr/>
            </p:nvSpPr>
            <p:spPr>
              <a:xfrm rot="8876369">
                <a:off x="4532362" y="1677768"/>
                <a:ext cx="1133295" cy="1096930"/>
              </a:xfrm>
              <a:custGeom>
                <a:avLst/>
                <a:gdLst>
                  <a:gd name="connsiteX0" fmla="*/ 0 w 1133295"/>
                  <a:gd name="connsiteY0" fmla="*/ 1096071 h 1096930"/>
                  <a:gd name="connsiteX1" fmla="*/ 0 w 1133295"/>
                  <a:gd name="connsiteY1" fmla="*/ 176468 h 1096930"/>
                  <a:gd name="connsiteX2" fmla="*/ 32025 w 1133295"/>
                  <a:gd name="connsiteY2" fmla="*/ 176904 h 1096930"/>
                  <a:gd name="connsiteX3" fmla="*/ 633100 w 1133295"/>
                  <a:gd name="connsiteY3" fmla="*/ 8025 h 1096930"/>
                  <a:gd name="connsiteX4" fmla="*/ 645834 w 1133295"/>
                  <a:gd name="connsiteY4" fmla="*/ 0 h 1096930"/>
                  <a:gd name="connsiteX5" fmla="*/ 1133295 w 1133295"/>
                  <a:gd name="connsiteY5" fmla="*/ 779754 h 1096930"/>
                  <a:gd name="connsiteX6" fmla="*/ 1086132 w 1133295"/>
                  <a:gd name="connsiteY6" fmla="*/ 809475 h 1096930"/>
                  <a:gd name="connsiteX7" fmla="*/ 63024 w 1133295"/>
                  <a:gd name="connsiteY7" fmla="*/ 1096930 h 1096930"/>
                  <a:gd name="connsiteX8" fmla="*/ 0 w 1133295"/>
                  <a:gd name="connsiteY8" fmla="*/ 1096071 h 1096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3295" h="1096930">
                    <a:moveTo>
                      <a:pt x="0" y="1096071"/>
                    </a:moveTo>
                    <a:lnTo>
                      <a:pt x="0" y="176468"/>
                    </a:lnTo>
                    <a:lnTo>
                      <a:pt x="32025" y="176904"/>
                    </a:lnTo>
                    <a:cubicBezTo>
                      <a:pt x="242317" y="169627"/>
                      <a:pt x="448983" y="111885"/>
                      <a:pt x="633100" y="8025"/>
                    </a:cubicBezTo>
                    <a:lnTo>
                      <a:pt x="645834" y="0"/>
                    </a:lnTo>
                    <a:lnTo>
                      <a:pt x="1133295" y="779754"/>
                    </a:lnTo>
                    <a:lnTo>
                      <a:pt x="1086132" y="809475"/>
                    </a:lnTo>
                    <a:cubicBezTo>
                      <a:pt x="772741" y="986259"/>
                      <a:pt x="420969" y="1084544"/>
                      <a:pt x="63024" y="1096930"/>
                    </a:cubicBezTo>
                    <a:lnTo>
                      <a:pt x="0" y="1096071"/>
                    </a:lnTo>
                    <a:close/>
                  </a:path>
                </a:pathLst>
              </a:custGeom>
              <a:solidFill>
                <a:srgbClr val="CCC5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897CACE-01C2-4BCF-A9C7-3893022DCF60}"/>
                  </a:ext>
                </a:extLst>
              </p:cNvPr>
              <p:cNvSpPr/>
              <p:nvPr/>
            </p:nvSpPr>
            <p:spPr>
              <a:xfrm rot="8876369">
                <a:off x="7682640" y="2429250"/>
                <a:ext cx="1092199" cy="1070494"/>
              </a:xfrm>
              <a:custGeom>
                <a:avLst/>
                <a:gdLst>
                  <a:gd name="connsiteX0" fmla="*/ 0 w 1092199"/>
                  <a:gd name="connsiteY0" fmla="*/ 1031182 h 1070494"/>
                  <a:gd name="connsiteX1" fmla="*/ 422 w 1092199"/>
                  <a:gd name="connsiteY1" fmla="*/ 1000225 h 1070494"/>
                  <a:gd name="connsiteX2" fmla="*/ 225421 w 1092199"/>
                  <a:gd name="connsiteY2" fmla="*/ 155329 h 1070494"/>
                  <a:gd name="connsiteX3" fmla="*/ 312125 w 1092199"/>
                  <a:gd name="connsiteY3" fmla="*/ 0 h 1070494"/>
                  <a:gd name="connsiteX4" fmla="*/ 1092199 w 1092199"/>
                  <a:gd name="connsiteY4" fmla="*/ 488591 h 1070494"/>
                  <a:gd name="connsiteX5" fmla="*/ 1051424 w 1092199"/>
                  <a:gd name="connsiteY5" fmla="*/ 561639 h 1070494"/>
                  <a:gd name="connsiteX6" fmla="*/ 919237 w 1092199"/>
                  <a:gd name="connsiteY6" fmla="*/ 1058016 h 1070494"/>
                  <a:gd name="connsiteX7" fmla="*/ 919067 w 1092199"/>
                  <a:gd name="connsiteY7" fmla="*/ 1070494 h 1070494"/>
                  <a:gd name="connsiteX8" fmla="*/ 0 w 1092199"/>
                  <a:gd name="connsiteY8" fmla="*/ 1031182 h 1070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2199" h="1070494">
                    <a:moveTo>
                      <a:pt x="0" y="1031182"/>
                    </a:moveTo>
                    <a:lnTo>
                      <a:pt x="422" y="1000225"/>
                    </a:lnTo>
                    <a:cubicBezTo>
                      <a:pt x="18236" y="712924"/>
                      <a:pt x="91974" y="425796"/>
                      <a:pt x="225421" y="155329"/>
                    </a:cubicBezTo>
                    <a:lnTo>
                      <a:pt x="312125" y="0"/>
                    </a:lnTo>
                    <a:lnTo>
                      <a:pt x="1092199" y="488591"/>
                    </a:lnTo>
                    <a:lnTo>
                      <a:pt x="1051424" y="561639"/>
                    </a:lnTo>
                    <a:cubicBezTo>
                      <a:pt x="973023" y="720539"/>
                      <a:pt x="929703" y="889227"/>
                      <a:pt x="919237" y="1058016"/>
                    </a:cubicBezTo>
                    <a:lnTo>
                      <a:pt x="919067" y="1070494"/>
                    </a:lnTo>
                    <a:lnTo>
                      <a:pt x="0" y="1031182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979D439-92DD-4CA3-86A2-FAA3AC8B54C9}"/>
                  </a:ext>
                </a:extLst>
              </p:cNvPr>
              <p:cNvSpPr/>
              <p:nvPr/>
            </p:nvSpPr>
            <p:spPr>
              <a:xfrm rot="8876369">
                <a:off x="4118290" y="2334959"/>
                <a:ext cx="1165490" cy="1151510"/>
              </a:xfrm>
              <a:custGeom>
                <a:avLst/>
                <a:gdLst>
                  <a:gd name="connsiteX0" fmla="*/ 487460 w 1165490"/>
                  <a:gd name="connsiteY0" fmla="*/ 1151510 h 1151510"/>
                  <a:gd name="connsiteX1" fmla="*/ 0 w 1165490"/>
                  <a:gd name="connsiteY1" fmla="*/ 371755 h 1151510"/>
                  <a:gd name="connsiteX2" fmla="*/ 56200 w 1165490"/>
                  <a:gd name="connsiteY2" fmla="*/ 336339 h 1151510"/>
                  <a:gd name="connsiteX3" fmla="*/ 337489 w 1165490"/>
                  <a:gd name="connsiteY3" fmla="*/ 68569 h 1151510"/>
                  <a:gd name="connsiteX4" fmla="*/ 385415 w 1165490"/>
                  <a:gd name="connsiteY4" fmla="*/ 0 h 1151510"/>
                  <a:gd name="connsiteX5" fmla="*/ 1165490 w 1165490"/>
                  <a:gd name="connsiteY5" fmla="*/ 488591 h 1151510"/>
                  <a:gd name="connsiteX6" fmla="*/ 1063581 w 1165490"/>
                  <a:gd name="connsiteY6" fmla="*/ 634396 h 1151510"/>
                  <a:gd name="connsiteX7" fmla="*/ 584790 w 1165490"/>
                  <a:gd name="connsiteY7" fmla="*/ 1090175 h 1151510"/>
                  <a:gd name="connsiteX8" fmla="*/ 487460 w 1165490"/>
                  <a:gd name="connsiteY8" fmla="*/ 1151510 h 11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5490" h="1151510">
                    <a:moveTo>
                      <a:pt x="487460" y="1151510"/>
                    </a:moveTo>
                    <a:lnTo>
                      <a:pt x="0" y="371755"/>
                    </a:lnTo>
                    <a:lnTo>
                      <a:pt x="56200" y="336339"/>
                    </a:lnTo>
                    <a:cubicBezTo>
                      <a:pt x="160805" y="263059"/>
                      <a:pt x="255930" y="173489"/>
                      <a:pt x="337489" y="68569"/>
                    </a:cubicBezTo>
                    <a:lnTo>
                      <a:pt x="385415" y="0"/>
                    </a:lnTo>
                    <a:lnTo>
                      <a:pt x="1165490" y="488591"/>
                    </a:lnTo>
                    <a:lnTo>
                      <a:pt x="1063581" y="634396"/>
                    </a:lnTo>
                    <a:cubicBezTo>
                      <a:pt x="924757" y="812983"/>
                      <a:pt x="762842" y="965442"/>
                      <a:pt x="584790" y="1090175"/>
                    </a:cubicBezTo>
                    <a:lnTo>
                      <a:pt x="487460" y="115151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7C5D47-1E5C-40E4-AF6B-693D78A33857}"/>
                  </a:ext>
                </a:extLst>
              </p:cNvPr>
              <p:cNvSpPr/>
              <p:nvPr/>
            </p:nvSpPr>
            <p:spPr>
              <a:xfrm rot="8876369">
                <a:off x="4170345" y="3138714"/>
                <a:ext cx="1119324" cy="1100515"/>
              </a:xfrm>
              <a:custGeom>
                <a:avLst/>
                <a:gdLst>
                  <a:gd name="connsiteX0" fmla="*/ 780074 w 1119324"/>
                  <a:gd name="connsiteY0" fmla="*/ 1100515 h 1100515"/>
                  <a:gd name="connsiteX1" fmla="*/ 0 w 1119324"/>
                  <a:gd name="connsiteY1" fmla="*/ 611924 h 1100515"/>
                  <a:gd name="connsiteX2" fmla="*/ 2734 w 1119324"/>
                  <a:gd name="connsiteY2" fmla="*/ 608012 h 1100515"/>
                  <a:gd name="connsiteX3" fmla="*/ 186289 w 1119324"/>
                  <a:gd name="connsiteY3" fmla="*/ 120870 h 1100515"/>
                  <a:gd name="connsiteX4" fmla="*/ 199717 w 1119324"/>
                  <a:gd name="connsiteY4" fmla="*/ 0 h 1100515"/>
                  <a:gd name="connsiteX5" fmla="*/ 1119324 w 1119324"/>
                  <a:gd name="connsiteY5" fmla="*/ 39334 h 1100515"/>
                  <a:gd name="connsiteX6" fmla="*/ 1119149 w 1119324"/>
                  <a:gd name="connsiteY6" fmla="*/ 52240 h 1100515"/>
                  <a:gd name="connsiteX7" fmla="*/ 782808 w 1119324"/>
                  <a:gd name="connsiteY7" fmla="*/ 1096603 h 1100515"/>
                  <a:gd name="connsiteX8" fmla="*/ 780074 w 1119324"/>
                  <a:gd name="connsiteY8" fmla="*/ 1100515 h 110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324" h="1100515">
                    <a:moveTo>
                      <a:pt x="780074" y="1100515"/>
                    </a:moveTo>
                    <a:lnTo>
                      <a:pt x="0" y="611924"/>
                    </a:lnTo>
                    <a:lnTo>
                      <a:pt x="2734" y="608012"/>
                    </a:lnTo>
                    <a:cubicBezTo>
                      <a:pt x="98813" y="454613"/>
                      <a:pt x="159257" y="289003"/>
                      <a:pt x="186289" y="120870"/>
                    </a:cubicBezTo>
                    <a:lnTo>
                      <a:pt x="199717" y="0"/>
                    </a:lnTo>
                    <a:lnTo>
                      <a:pt x="1119324" y="39334"/>
                    </a:lnTo>
                    <a:lnTo>
                      <a:pt x="1119149" y="52240"/>
                    </a:lnTo>
                    <a:cubicBezTo>
                      <a:pt x="1096880" y="411365"/>
                      <a:pt x="987233" y="770222"/>
                      <a:pt x="782808" y="1096603"/>
                    </a:cubicBezTo>
                    <a:lnTo>
                      <a:pt x="780074" y="1100515"/>
                    </a:lnTo>
                    <a:close/>
                  </a:path>
                </a:pathLst>
              </a:custGeom>
              <a:solidFill>
                <a:srgbClr val="F8DC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5320555-3A65-4A41-AD70-ACD1ABF066A9}"/>
                  </a:ext>
                </a:extLst>
              </p:cNvPr>
              <p:cNvSpPr/>
              <p:nvPr/>
            </p:nvSpPr>
            <p:spPr>
              <a:xfrm rot="8876369">
                <a:off x="7691974" y="3144531"/>
                <a:ext cx="1162852" cy="1175733"/>
              </a:xfrm>
              <a:custGeom>
                <a:avLst/>
                <a:gdLst>
                  <a:gd name="connsiteX0" fmla="*/ 780074 w 1162852"/>
                  <a:gd name="connsiteY0" fmla="*/ 1175733 h 1175733"/>
                  <a:gd name="connsiteX1" fmla="*/ 0 w 1162852"/>
                  <a:gd name="connsiteY1" fmla="*/ 687142 h 1175733"/>
                  <a:gd name="connsiteX2" fmla="*/ 2325 w 1162852"/>
                  <a:gd name="connsiteY2" fmla="*/ 682975 h 1175733"/>
                  <a:gd name="connsiteX3" fmla="*/ 611983 w 1162852"/>
                  <a:gd name="connsiteY3" fmla="*/ 39959 h 1175733"/>
                  <a:gd name="connsiteX4" fmla="*/ 675393 w 1162852"/>
                  <a:gd name="connsiteY4" fmla="*/ 0 h 1175733"/>
                  <a:gd name="connsiteX5" fmla="*/ 1162852 w 1162852"/>
                  <a:gd name="connsiteY5" fmla="*/ 779754 h 1175733"/>
                  <a:gd name="connsiteX6" fmla="*/ 1140574 w 1162852"/>
                  <a:gd name="connsiteY6" fmla="*/ 793794 h 1175733"/>
                  <a:gd name="connsiteX7" fmla="*/ 782400 w 1162852"/>
                  <a:gd name="connsiteY7" fmla="*/ 1171566 h 1175733"/>
                  <a:gd name="connsiteX8" fmla="*/ 780074 w 1162852"/>
                  <a:gd name="connsiteY8" fmla="*/ 1175733 h 1175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2852" h="1175733">
                    <a:moveTo>
                      <a:pt x="780074" y="1175733"/>
                    </a:moveTo>
                    <a:lnTo>
                      <a:pt x="0" y="687142"/>
                    </a:lnTo>
                    <a:lnTo>
                      <a:pt x="2325" y="682975"/>
                    </a:lnTo>
                    <a:cubicBezTo>
                      <a:pt x="165866" y="421870"/>
                      <a:pt x="374582" y="206269"/>
                      <a:pt x="611983" y="39959"/>
                    </a:cubicBezTo>
                    <a:lnTo>
                      <a:pt x="675393" y="0"/>
                    </a:lnTo>
                    <a:lnTo>
                      <a:pt x="1162852" y="779754"/>
                    </a:lnTo>
                    <a:lnTo>
                      <a:pt x="1140574" y="793794"/>
                    </a:lnTo>
                    <a:cubicBezTo>
                      <a:pt x="1001100" y="891501"/>
                      <a:pt x="878480" y="1018167"/>
                      <a:pt x="782400" y="1171566"/>
                    </a:cubicBezTo>
                    <a:lnTo>
                      <a:pt x="780074" y="1175733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11B1CEF-6E09-426C-953C-DEE083C4478A}"/>
                  </a:ext>
                </a:extLst>
              </p:cNvPr>
              <p:cNvSpPr/>
              <p:nvPr/>
            </p:nvSpPr>
            <p:spPr>
              <a:xfrm rot="8876369">
                <a:off x="7310493" y="3879655"/>
                <a:ext cx="1145750" cy="1118307"/>
              </a:xfrm>
              <a:custGeom>
                <a:avLst/>
                <a:gdLst>
                  <a:gd name="connsiteX0" fmla="*/ 487460 w 1145750"/>
                  <a:gd name="connsiteY0" fmla="*/ 1118307 h 1118307"/>
                  <a:gd name="connsiteX1" fmla="*/ 0 w 1145750"/>
                  <a:gd name="connsiteY1" fmla="*/ 338552 h 1118307"/>
                  <a:gd name="connsiteX2" fmla="*/ 81083 w 1145750"/>
                  <a:gd name="connsiteY2" fmla="*/ 287455 h 1118307"/>
                  <a:gd name="connsiteX3" fmla="*/ 1104191 w 1145750"/>
                  <a:gd name="connsiteY3" fmla="*/ 0 h 1118307"/>
                  <a:gd name="connsiteX4" fmla="*/ 1145750 w 1145750"/>
                  <a:gd name="connsiteY4" fmla="*/ 566 h 1118307"/>
                  <a:gd name="connsiteX5" fmla="*/ 1145750 w 1145750"/>
                  <a:gd name="connsiteY5" fmla="*/ 920170 h 1118307"/>
                  <a:gd name="connsiteX6" fmla="*/ 1135191 w 1145750"/>
                  <a:gd name="connsiteY6" fmla="*/ 920026 h 1118307"/>
                  <a:gd name="connsiteX7" fmla="*/ 534116 w 1145750"/>
                  <a:gd name="connsiteY7" fmla="*/ 1088906 h 1118307"/>
                  <a:gd name="connsiteX8" fmla="*/ 487460 w 1145750"/>
                  <a:gd name="connsiteY8" fmla="*/ 1118307 h 1118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5750" h="1118307">
                    <a:moveTo>
                      <a:pt x="487460" y="1118307"/>
                    </a:moveTo>
                    <a:lnTo>
                      <a:pt x="0" y="338552"/>
                    </a:lnTo>
                    <a:lnTo>
                      <a:pt x="81083" y="287455"/>
                    </a:lnTo>
                    <a:cubicBezTo>
                      <a:pt x="394475" y="110672"/>
                      <a:pt x="746247" y="12386"/>
                      <a:pt x="1104191" y="0"/>
                    </a:cubicBezTo>
                    <a:lnTo>
                      <a:pt x="1145750" y="566"/>
                    </a:lnTo>
                    <a:lnTo>
                      <a:pt x="1145750" y="920170"/>
                    </a:lnTo>
                    <a:lnTo>
                      <a:pt x="1135191" y="920026"/>
                    </a:lnTo>
                    <a:cubicBezTo>
                      <a:pt x="924899" y="927303"/>
                      <a:pt x="718233" y="985045"/>
                      <a:pt x="534116" y="1088906"/>
                    </a:cubicBezTo>
                    <a:lnTo>
                      <a:pt x="487460" y="111830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A1B5CDDF-5DA7-4A1C-A8B9-E7FCA3A7308F}"/>
                  </a:ext>
                </a:extLst>
              </p:cNvPr>
              <p:cNvSpPr/>
              <p:nvPr/>
            </p:nvSpPr>
            <p:spPr>
              <a:xfrm rot="8876369">
                <a:off x="4750206" y="4100394"/>
                <a:ext cx="1047713" cy="1059716"/>
              </a:xfrm>
              <a:custGeom>
                <a:avLst/>
                <a:gdLst>
                  <a:gd name="connsiteX0" fmla="*/ 126510 w 1047713"/>
                  <a:gd name="connsiteY0" fmla="*/ 1020405 h 1059716"/>
                  <a:gd name="connsiteX1" fmla="*/ 127687 w 1047713"/>
                  <a:gd name="connsiteY1" fmla="*/ 934105 h 1059716"/>
                  <a:gd name="connsiteX2" fmla="*/ 15555 w 1047713"/>
                  <a:gd name="connsiteY2" fmla="*/ 446055 h 1059716"/>
                  <a:gd name="connsiteX3" fmla="*/ 0 w 1047713"/>
                  <a:gd name="connsiteY3" fmla="*/ 415075 h 1059716"/>
                  <a:gd name="connsiteX4" fmla="*/ 820508 w 1047713"/>
                  <a:gd name="connsiteY4" fmla="*/ 0 h 1059716"/>
                  <a:gd name="connsiteX5" fmla="*/ 856849 w 1047713"/>
                  <a:gd name="connsiteY5" fmla="*/ 72381 h 1059716"/>
                  <a:gd name="connsiteX6" fmla="*/ 1047713 w 1047713"/>
                  <a:gd name="connsiteY6" fmla="*/ 903106 h 1059716"/>
                  <a:gd name="connsiteX7" fmla="*/ 1045577 w 1047713"/>
                  <a:gd name="connsiteY7" fmla="*/ 1059716 h 1059716"/>
                  <a:gd name="connsiteX8" fmla="*/ 126510 w 1047713"/>
                  <a:gd name="connsiteY8" fmla="*/ 1020405 h 1059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7713" h="1059716">
                    <a:moveTo>
                      <a:pt x="126510" y="1020405"/>
                    </a:moveTo>
                    <a:lnTo>
                      <a:pt x="127687" y="934105"/>
                    </a:lnTo>
                    <a:cubicBezTo>
                      <a:pt x="121865" y="765872"/>
                      <a:pt x="83746" y="599959"/>
                      <a:pt x="15555" y="446055"/>
                    </a:cubicBezTo>
                    <a:lnTo>
                      <a:pt x="0" y="415075"/>
                    </a:lnTo>
                    <a:lnTo>
                      <a:pt x="820508" y="0"/>
                    </a:lnTo>
                    <a:lnTo>
                      <a:pt x="856849" y="72381"/>
                    </a:lnTo>
                    <a:cubicBezTo>
                      <a:pt x="972920" y="334345"/>
                      <a:pt x="1037804" y="616750"/>
                      <a:pt x="1047713" y="903106"/>
                    </a:cubicBezTo>
                    <a:lnTo>
                      <a:pt x="1045577" y="1059716"/>
                    </a:lnTo>
                    <a:lnTo>
                      <a:pt x="126510" y="102040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753AC84-4022-4B68-A7B5-5FF34D441A37}"/>
                  </a:ext>
                </a:extLst>
              </p:cNvPr>
              <p:cNvSpPr/>
              <p:nvPr/>
            </p:nvSpPr>
            <p:spPr>
              <a:xfrm rot="8876369">
                <a:off x="6293439" y="4522455"/>
                <a:ext cx="1155680" cy="1108864"/>
              </a:xfrm>
              <a:custGeom>
                <a:avLst/>
                <a:gdLst>
                  <a:gd name="connsiteX0" fmla="*/ 0 w 1155680"/>
                  <a:gd name="connsiteY0" fmla="*/ 919603 h 1108864"/>
                  <a:gd name="connsiteX1" fmla="*/ 0 w 1155680"/>
                  <a:gd name="connsiteY1" fmla="*/ 0 h 1108864"/>
                  <a:gd name="connsiteX2" fmla="*/ 127972 w 1155680"/>
                  <a:gd name="connsiteY2" fmla="*/ 1745 h 1108864"/>
                  <a:gd name="connsiteX3" fmla="*/ 972868 w 1155680"/>
                  <a:gd name="connsiteY3" fmla="*/ 226745 h 1108864"/>
                  <a:gd name="connsiteX4" fmla="*/ 1155680 w 1155680"/>
                  <a:gd name="connsiteY4" fmla="*/ 328789 h 1108864"/>
                  <a:gd name="connsiteX5" fmla="*/ 667089 w 1155680"/>
                  <a:gd name="connsiteY5" fmla="*/ 1108864 h 1108864"/>
                  <a:gd name="connsiteX6" fmla="*/ 566557 w 1155680"/>
                  <a:gd name="connsiteY6" fmla="*/ 1052747 h 1108864"/>
                  <a:gd name="connsiteX7" fmla="*/ 70181 w 1155680"/>
                  <a:gd name="connsiteY7" fmla="*/ 920560 h 1108864"/>
                  <a:gd name="connsiteX8" fmla="*/ 0 w 1155680"/>
                  <a:gd name="connsiteY8" fmla="*/ 919603 h 110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5680" h="1108864">
                    <a:moveTo>
                      <a:pt x="0" y="919603"/>
                    </a:moveTo>
                    <a:lnTo>
                      <a:pt x="0" y="0"/>
                    </a:lnTo>
                    <a:lnTo>
                      <a:pt x="127972" y="1745"/>
                    </a:lnTo>
                    <a:cubicBezTo>
                      <a:pt x="415273" y="19560"/>
                      <a:pt x="702401" y="93297"/>
                      <a:pt x="972868" y="226745"/>
                    </a:cubicBezTo>
                    <a:lnTo>
                      <a:pt x="1155680" y="328789"/>
                    </a:lnTo>
                    <a:lnTo>
                      <a:pt x="667089" y="1108864"/>
                    </a:lnTo>
                    <a:lnTo>
                      <a:pt x="566557" y="1052747"/>
                    </a:lnTo>
                    <a:cubicBezTo>
                      <a:pt x="407658" y="974347"/>
                      <a:pt x="238970" y="931026"/>
                      <a:pt x="70181" y="920560"/>
                    </a:cubicBezTo>
                    <a:lnTo>
                      <a:pt x="0" y="919603"/>
                    </a:lnTo>
                    <a:close/>
                  </a:path>
                </a:pathLst>
              </a:custGeom>
              <a:solidFill>
                <a:srgbClr val="AAD3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054C77E-4F68-41C3-A717-EBC62F4FDAEE}"/>
                </a:ext>
              </a:extLst>
            </p:cNvPr>
            <p:cNvSpPr/>
            <p:nvPr/>
          </p:nvSpPr>
          <p:spPr>
            <a:xfrm rot="8876369">
              <a:off x="5363733" y="4476045"/>
              <a:ext cx="1264887" cy="1271752"/>
            </a:xfrm>
            <a:custGeom>
              <a:avLst/>
              <a:gdLst>
                <a:gd name="connsiteX0" fmla="*/ 444379 w 1264887"/>
                <a:gd name="connsiteY0" fmla="*/ 1271752 h 1271752"/>
                <a:gd name="connsiteX1" fmla="*/ 423700 w 1264887"/>
                <a:gd name="connsiteY1" fmla="*/ 1230565 h 1271752"/>
                <a:gd name="connsiteX2" fmla="*/ 88115 w 1264887"/>
                <a:gd name="connsiteY2" fmla="*/ 841662 h 1271752"/>
                <a:gd name="connsiteX3" fmla="*/ 0 w 1264887"/>
                <a:gd name="connsiteY3" fmla="*/ 780075 h 1271752"/>
                <a:gd name="connsiteX4" fmla="*/ 488591 w 1264887"/>
                <a:gd name="connsiteY4" fmla="*/ 0 h 1271752"/>
                <a:gd name="connsiteX5" fmla="*/ 653941 w 1264887"/>
                <a:gd name="connsiteY5" fmla="*/ 115570 h 1271752"/>
                <a:gd name="connsiteX6" fmla="*/ 1225150 w 1264887"/>
                <a:gd name="connsiteY6" fmla="*/ 777533 h 1271752"/>
                <a:gd name="connsiteX7" fmla="*/ 1264887 w 1264887"/>
                <a:gd name="connsiteY7" fmla="*/ 856677 h 1271752"/>
                <a:gd name="connsiteX8" fmla="*/ 444379 w 1264887"/>
                <a:gd name="connsiteY8" fmla="*/ 1271752 h 1271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4887" h="1271752">
                  <a:moveTo>
                    <a:pt x="444379" y="1271752"/>
                  </a:moveTo>
                  <a:lnTo>
                    <a:pt x="423700" y="1230565"/>
                  </a:lnTo>
                  <a:cubicBezTo>
                    <a:pt x="340612" y="1083270"/>
                    <a:pt x="228008" y="950407"/>
                    <a:pt x="88115" y="841662"/>
                  </a:cubicBezTo>
                  <a:lnTo>
                    <a:pt x="0" y="780075"/>
                  </a:lnTo>
                  <a:lnTo>
                    <a:pt x="488591" y="0"/>
                  </a:lnTo>
                  <a:lnTo>
                    <a:pt x="653941" y="115570"/>
                  </a:lnTo>
                  <a:cubicBezTo>
                    <a:pt x="892058" y="300668"/>
                    <a:pt x="1083724" y="526818"/>
                    <a:pt x="1225150" y="777533"/>
                  </a:cubicBezTo>
                  <a:lnTo>
                    <a:pt x="1264887" y="856677"/>
                  </a:lnTo>
                  <a:lnTo>
                    <a:pt x="444379" y="12717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E7FE7C2-CE94-4C12-9373-B58615E197FE}"/>
                </a:ext>
              </a:extLst>
            </p:cNvPr>
            <p:cNvSpPr txBox="1"/>
            <p:nvPr/>
          </p:nvSpPr>
          <p:spPr>
            <a:xfrm>
              <a:off x="6660313" y="1501824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AN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3E42FE2A-4A88-4B9C-811E-1E7BCB1AB95D}"/>
                </a:ext>
              </a:extLst>
            </p:cNvPr>
            <p:cNvSpPr txBox="1"/>
            <p:nvPr/>
          </p:nvSpPr>
          <p:spPr>
            <a:xfrm>
              <a:off x="7467222" y="200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FEB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76FD261-A93C-4468-8734-70F15FE6CE58}"/>
                </a:ext>
              </a:extLst>
            </p:cNvPr>
            <p:cNvSpPr txBox="1"/>
            <p:nvPr/>
          </p:nvSpPr>
          <p:spPr>
            <a:xfrm>
              <a:off x="7910636" y="276180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AR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A3F098E-7020-4E05-9129-BE9DEF69A514}"/>
                </a:ext>
              </a:extLst>
            </p:cNvPr>
            <p:cNvSpPr txBox="1"/>
            <p:nvPr/>
          </p:nvSpPr>
          <p:spPr>
            <a:xfrm>
              <a:off x="7961288" y="3592666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PR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5B4672F-DD68-421B-A9F0-ACA607ED9AF5}"/>
                </a:ext>
              </a:extLst>
            </p:cNvPr>
            <p:cNvSpPr txBox="1"/>
            <p:nvPr/>
          </p:nvSpPr>
          <p:spPr>
            <a:xfrm>
              <a:off x="7509133" y="442726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AY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92C397EC-C40D-4AF5-AFCC-0CE2B7E581F3}"/>
                </a:ext>
              </a:extLst>
            </p:cNvPr>
            <p:cNvSpPr txBox="1"/>
            <p:nvPr/>
          </p:nvSpPr>
          <p:spPr>
            <a:xfrm>
              <a:off x="6693997" y="4875978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UN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EC5288A2-41B8-4EB9-9A76-588597C3F197}"/>
                </a:ext>
              </a:extLst>
            </p:cNvPr>
            <p:cNvSpPr txBox="1"/>
            <p:nvPr/>
          </p:nvSpPr>
          <p:spPr>
            <a:xfrm>
              <a:off x="5756758" y="4875978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UL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5A56A565-CD06-4627-8513-5874B4197E6B}"/>
                </a:ext>
              </a:extLst>
            </p:cNvPr>
            <p:cNvSpPr txBox="1"/>
            <p:nvPr/>
          </p:nvSpPr>
          <p:spPr>
            <a:xfrm>
              <a:off x="4913507" y="442726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UG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D7A827B5-FDE8-4B94-9996-E17FF65710BC}"/>
                </a:ext>
              </a:extLst>
            </p:cNvPr>
            <p:cNvSpPr txBox="1"/>
            <p:nvPr/>
          </p:nvSpPr>
          <p:spPr>
            <a:xfrm>
              <a:off x="4487611" y="364874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SEP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F7D0C75-38FF-45DA-AB42-C55BB4719845}"/>
                </a:ext>
              </a:extLst>
            </p:cNvPr>
            <p:cNvSpPr txBox="1"/>
            <p:nvPr/>
          </p:nvSpPr>
          <p:spPr>
            <a:xfrm>
              <a:off x="4444183" y="276180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CT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842B78F6-1577-41DD-9DCC-9D1B8D3B7D9A}"/>
                </a:ext>
              </a:extLst>
            </p:cNvPr>
            <p:cNvSpPr txBox="1"/>
            <p:nvPr/>
          </p:nvSpPr>
          <p:spPr>
            <a:xfrm>
              <a:off x="4872636" y="200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NOV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13025A16-5142-4A9E-B978-3BC8FD2FB494}"/>
                </a:ext>
              </a:extLst>
            </p:cNvPr>
            <p:cNvSpPr txBox="1"/>
            <p:nvPr/>
          </p:nvSpPr>
          <p:spPr>
            <a:xfrm>
              <a:off x="5756758" y="152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DEC</a:t>
              </a: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FB058E83-0AD1-4892-964E-9831466ED3AB}"/>
              </a:ext>
            </a:extLst>
          </p:cNvPr>
          <p:cNvSpPr txBox="1"/>
          <p:nvPr/>
        </p:nvSpPr>
        <p:spPr>
          <a:xfrm>
            <a:off x="1538792" y="4189420"/>
            <a:ext cx="2367310" cy="660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September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Arbetsvecka</a:t>
            </a:r>
            <a:r>
              <a:rPr lang="en-GB" sz="1050" dirty="0">
                <a:solidFill>
                  <a:srgbClr val="002060"/>
                </a:solidFill>
              </a:rPr>
              <a:t>: v 4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528D65-86EB-431C-A502-45633A8B448A}"/>
              </a:ext>
            </a:extLst>
          </p:cNvPr>
          <p:cNvSpPr txBox="1"/>
          <p:nvPr/>
        </p:nvSpPr>
        <p:spPr>
          <a:xfrm>
            <a:off x="1734258" y="1972588"/>
            <a:ext cx="1919776" cy="374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1965"/>
                </a:solidFill>
              </a:rPr>
              <a:t>November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Försäljning</a:t>
            </a:r>
            <a:r>
              <a:rPr lang="en-GB" sz="1050" dirty="0">
                <a:solidFill>
                  <a:srgbClr val="001965"/>
                </a:solidFill>
              </a:rPr>
              <a:t> </a:t>
            </a:r>
            <a:r>
              <a:rPr lang="en-GB" sz="1050" dirty="0" err="1">
                <a:solidFill>
                  <a:srgbClr val="001965"/>
                </a:solidFill>
              </a:rPr>
              <a:t>av</a:t>
            </a:r>
            <a:r>
              <a:rPr lang="en-GB" sz="1050" dirty="0">
                <a:solidFill>
                  <a:srgbClr val="001965"/>
                </a:solidFill>
              </a:rPr>
              <a:t> </a:t>
            </a:r>
            <a:r>
              <a:rPr lang="en-GB" sz="1050" dirty="0" err="1">
                <a:solidFill>
                  <a:srgbClr val="001965"/>
                </a:solidFill>
              </a:rPr>
              <a:t>bingolotter</a:t>
            </a:r>
            <a:endParaRPr kumimoji="0" lang="da-DK" sz="1050" i="1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9D65D53-D6D6-45A7-8A47-B0665BC0C32B}"/>
              </a:ext>
            </a:extLst>
          </p:cNvPr>
          <p:cNvSpPr txBox="1"/>
          <p:nvPr/>
        </p:nvSpPr>
        <p:spPr>
          <a:xfrm>
            <a:off x="7520011" y="2769447"/>
            <a:ext cx="3860477" cy="817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Mars</a:t>
            </a: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7 mars </a:t>
            </a:r>
            <a:r>
              <a:rPr lang="en-GB" sz="1000" dirty="0" err="1">
                <a:solidFill>
                  <a:srgbClr val="001965"/>
                </a:solidFill>
              </a:rPr>
              <a:t>Träningsmatch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30 mars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Domarutbildning</a:t>
            </a:r>
            <a:r>
              <a:rPr lang="en-GB" sz="1000" dirty="0">
                <a:solidFill>
                  <a:srgbClr val="001965"/>
                </a:solidFill>
              </a:rPr>
              <a:t> #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7283342-13E9-7B87-3DF5-9E36B66CD4FC}"/>
              </a:ext>
            </a:extLst>
          </p:cNvPr>
          <p:cNvSpPr txBox="1"/>
          <p:nvPr/>
        </p:nvSpPr>
        <p:spPr>
          <a:xfrm>
            <a:off x="7699280" y="3727601"/>
            <a:ext cx="3993549" cy="1741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April</a:t>
            </a: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5 </a:t>
            </a:r>
            <a:r>
              <a:rPr lang="en-GB" sz="1000" b="1" dirty="0" err="1">
                <a:solidFill>
                  <a:srgbClr val="001965"/>
                </a:solidFill>
              </a:rPr>
              <a:t>april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Träningsmatch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Mullsjö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7 April </a:t>
            </a:r>
            <a:r>
              <a:rPr lang="en-GB" sz="1000" dirty="0" err="1">
                <a:solidFill>
                  <a:srgbClr val="001965"/>
                </a:solidFill>
              </a:rPr>
              <a:t>Föräldramöte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11-12 April </a:t>
            </a:r>
            <a:r>
              <a:rPr lang="en-GB" sz="1000" dirty="0">
                <a:solidFill>
                  <a:srgbClr val="001965"/>
                </a:solidFill>
              </a:rPr>
              <a:t>– </a:t>
            </a:r>
            <a:r>
              <a:rPr lang="en-GB" sz="1000" dirty="0" err="1">
                <a:solidFill>
                  <a:srgbClr val="001965"/>
                </a:solidFill>
              </a:rPr>
              <a:t>Lassabollen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Ulricehamn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18-19 April </a:t>
            </a:r>
            <a:r>
              <a:rPr lang="en-GB" sz="1000" dirty="0" err="1">
                <a:solidFill>
                  <a:srgbClr val="001965"/>
                </a:solidFill>
              </a:rPr>
              <a:t>Enstaka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killar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stöttar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upp</a:t>
            </a:r>
            <a:r>
              <a:rPr lang="en-GB" sz="1000" dirty="0">
                <a:solidFill>
                  <a:srgbClr val="001965"/>
                </a:solidFill>
              </a:rPr>
              <a:t> P11 under GIFF</a:t>
            </a: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5 April </a:t>
            </a:r>
            <a:r>
              <a:rPr lang="en-GB" sz="1000" dirty="0" err="1">
                <a:solidFill>
                  <a:srgbClr val="001965"/>
                </a:solidFill>
              </a:rPr>
              <a:t>Seriestart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7 April </a:t>
            </a:r>
            <a:r>
              <a:rPr lang="en-GB" sz="1000" b="1" dirty="0" err="1">
                <a:solidFill>
                  <a:srgbClr val="001965"/>
                </a:solidFill>
              </a:rPr>
              <a:t>Domarutbildning</a:t>
            </a:r>
            <a:r>
              <a:rPr lang="en-GB" sz="1000" b="1" dirty="0">
                <a:solidFill>
                  <a:srgbClr val="001965"/>
                </a:solidFill>
              </a:rPr>
              <a:t> #2</a:t>
            </a:r>
          </a:p>
          <a:p>
            <a:pPr>
              <a:lnSpc>
                <a:spcPct val="120000"/>
              </a:lnSpc>
            </a:pPr>
            <a:endParaRPr lang="en-GB" sz="1000" b="1" dirty="0">
              <a:solidFill>
                <a:srgbClr val="001965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C78ADBC-155E-6BCB-111A-0E63F9E29D68}"/>
              </a:ext>
            </a:extLst>
          </p:cNvPr>
          <p:cNvSpPr txBox="1"/>
          <p:nvPr/>
        </p:nvSpPr>
        <p:spPr>
          <a:xfrm>
            <a:off x="7013793" y="5285826"/>
            <a:ext cx="3695473" cy="466410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Maj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B35A078-638A-C165-E830-191C6B1660BD}"/>
              </a:ext>
            </a:extLst>
          </p:cNvPr>
          <p:cNvSpPr txBox="1"/>
          <p:nvPr/>
        </p:nvSpPr>
        <p:spPr>
          <a:xfrm>
            <a:off x="1471820" y="2785843"/>
            <a:ext cx="1797757" cy="854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1965"/>
                </a:solidFill>
              </a:rPr>
              <a:t>Oktober</a:t>
            </a:r>
            <a:endParaRPr lang="en-GB" sz="105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1965"/>
                </a:solidFill>
              </a:rPr>
              <a:t>17 </a:t>
            </a:r>
            <a:r>
              <a:rPr lang="en-GB" sz="1050" b="1" dirty="0" err="1">
                <a:solidFill>
                  <a:srgbClr val="001965"/>
                </a:solidFill>
              </a:rPr>
              <a:t>okt</a:t>
            </a:r>
            <a:r>
              <a:rPr lang="en-GB" sz="1050" dirty="0">
                <a:solidFill>
                  <a:srgbClr val="001965"/>
                </a:solidFill>
              </a:rPr>
              <a:t> </a:t>
            </a:r>
            <a:r>
              <a:rPr lang="en-GB" sz="1050" dirty="0" err="1">
                <a:solidFill>
                  <a:srgbClr val="001965"/>
                </a:solidFill>
              </a:rPr>
              <a:t>Städdag</a:t>
            </a:r>
            <a:endParaRPr lang="en-GB" sz="105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Avslutning</a:t>
            </a:r>
            <a:endParaRPr lang="en-GB" sz="105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Vinteruppehåll</a:t>
            </a:r>
            <a:endParaRPr lang="en-GB" sz="1050" dirty="0">
              <a:solidFill>
                <a:srgbClr val="001965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31D910-F173-6F4B-005C-11AC3A479FC5}"/>
              </a:ext>
            </a:extLst>
          </p:cNvPr>
          <p:cNvSpPr txBox="1"/>
          <p:nvPr/>
        </p:nvSpPr>
        <p:spPr>
          <a:xfrm>
            <a:off x="1785695" y="5197486"/>
            <a:ext cx="2556204" cy="1136337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Augusti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Träningen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drar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igång</a:t>
            </a:r>
            <a:r>
              <a:rPr lang="en-GB" sz="1050" dirty="0">
                <a:solidFill>
                  <a:srgbClr val="002060"/>
                </a:solidFill>
              </a:rPr>
              <a:t> 3/8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</a:p>
          <a:p>
            <a:pPr>
              <a:lnSpc>
                <a:spcPts val="1400"/>
              </a:lnSpc>
              <a:spcAft>
                <a:spcPts val="800"/>
              </a:spcAft>
              <a:buNone/>
            </a:pPr>
            <a:r>
              <a:rPr lang="sv" sz="1050" b="1" dirty="0">
                <a:solidFill>
                  <a:srgbClr val="002060"/>
                </a:solidFill>
              </a:rPr>
              <a:t>14-16 aug </a:t>
            </a:r>
            <a:r>
              <a:rPr lang="sv" sz="1050" dirty="0">
                <a:solidFill>
                  <a:srgbClr val="002060"/>
                </a:solidFill>
              </a:rPr>
              <a:t>Vätterbygden Cup</a:t>
            </a:r>
            <a:endParaRPr lang="en-SE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endParaRPr lang="en-GB" sz="1050" dirty="0">
              <a:solidFill>
                <a:srgbClr val="002060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6FCDC28-41FE-B039-80FF-7771794CA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414" y="3549892"/>
            <a:ext cx="2061926" cy="958731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400" b="1" cap="all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Årshjul p12</a:t>
            </a:r>
            <a:br>
              <a:rPr lang="da-DK" sz="2400" b="1" cap="all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endParaRPr lang="en-GB" sz="2400" b="1" cap="all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A66813-CF83-8A03-7730-6383B98CB234}"/>
              </a:ext>
            </a:extLst>
          </p:cNvPr>
          <p:cNvSpPr txBox="1"/>
          <p:nvPr/>
        </p:nvSpPr>
        <p:spPr>
          <a:xfrm>
            <a:off x="5728203" y="6016026"/>
            <a:ext cx="2586238" cy="854208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Juni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HaboCupen</a:t>
            </a:r>
            <a:r>
              <a:rPr lang="en-GB" sz="1050" dirty="0">
                <a:solidFill>
                  <a:srgbClr val="002060"/>
                </a:solidFill>
              </a:rPr>
              <a:t> 27-28 – </a:t>
            </a:r>
            <a:r>
              <a:rPr lang="en-GB" sz="1050" dirty="0" err="1">
                <a:solidFill>
                  <a:srgbClr val="002060"/>
                </a:solidFill>
              </a:rPr>
              <a:t>Föräldraruppdrag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Korvgrillning</a:t>
            </a:r>
            <a:endParaRPr lang="en-GB" sz="105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37749A-E56F-9147-32C6-13282E004315}"/>
              </a:ext>
            </a:extLst>
          </p:cNvPr>
          <p:cNvSpPr txBox="1"/>
          <p:nvPr/>
        </p:nvSpPr>
        <p:spPr>
          <a:xfrm>
            <a:off x="3894307" y="6016026"/>
            <a:ext cx="1496923" cy="660309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Juli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Spontana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LAXA-</a:t>
            </a:r>
            <a:r>
              <a:rPr lang="en-GB" sz="1050" dirty="0" err="1">
                <a:solidFill>
                  <a:srgbClr val="002060"/>
                </a:solidFill>
              </a:rPr>
              <a:t>CUPen</a:t>
            </a:r>
            <a:r>
              <a:rPr lang="en-GB" sz="1050" dirty="0">
                <a:solidFill>
                  <a:srgbClr val="002060"/>
                </a:solidFill>
              </a:rPr>
              <a:t> 23-2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8EC797-6AEF-3019-614F-705D31CDB98D}"/>
              </a:ext>
            </a:extLst>
          </p:cNvPr>
          <p:cNvSpPr txBox="1"/>
          <p:nvPr/>
        </p:nvSpPr>
        <p:spPr>
          <a:xfrm>
            <a:off x="3256794" y="1084415"/>
            <a:ext cx="1485693" cy="448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December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1 </a:t>
            </a:r>
            <a:r>
              <a:rPr lang="en-GB" sz="1000" dirty="0" err="1">
                <a:solidFill>
                  <a:srgbClr val="001965"/>
                </a:solidFill>
              </a:rPr>
              <a:t>träning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B2E27A-1F39-A113-2253-4B7473440E2A}"/>
              </a:ext>
            </a:extLst>
          </p:cNvPr>
          <p:cNvSpPr txBox="1"/>
          <p:nvPr/>
        </p:nvSpPr>
        <p:spPr>
          <a:xfrm>
            <a:off x="7019711" y="1912941"/>
            <a:ext cx="3860477" cy="633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 err="1">
                <a:solidFill>
                  <a:srgbClr val="001965"/>
                </a:solidFill>
              </a:rPr>
              <a:t>Februari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1-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1 </a:t>
            </a:r>
            <a:r>
              <a:rPr lang="en-GB" sz="1000" b="1" dirty="0" err="1">
                <a:solidFill>
                  <a:srgbClr val="001965"/>
                </a:solidFill>
              </a:rPr>
              <a:t>feb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Nattfotboll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95764F-139D-1067-A7D2-AC4DBB30A11A}"/>
              </a:ext>
            </a:extLst>
          </p:cNvPr>
          <p:cNvSpPr txBox="1"/>
          <p:nvPr/>
        </p:nvSpPr>
        <p:spPr>
          <a:xfrm>
            <a:off x="5847367" y="1161458"/>
            <a:ext cx="1452367" cy="633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 err="1">
                <a:solidFill>
                  <a:srgbClr val="001965"/>
                </a:solidFill>
              </a:rPr>
              <a:t>Januari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1 </a:t>
            </a:r>
            <a:r>
              <a:rPr lang="en-GB" sz="1000" dirty="0" err="1">
                <a:solidFill>
                  <a:srgbClr val="001965"/>
                </a:solidFill>
              </a:rPr>
              <a:t>träning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9 </a:t>
            </a:r>
            <a:r>
              <a:rPr lang="en-GB" sz="1000" b="1" dirty="0" err="1">
                <a:solidFill>
                  <a:srgbClr val="001965"/>
                </a:solidFill>
              </a:rPr>
              <a:t>jan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Ledarmöte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5" name="Rektangel 36">
            <a:extLst>
              <a:ext uri="{FF2B5EF4-FFF2-40B4-BE49-F238E27FC236}">
                <a16:creationId xmlns:a16="http://schemas.microsoft.com/office/drawing/2014/main" id="{BBED5E82-395E-5BA1-F2BA-1B7FBB4218BD}"/>
              </a:ext>
            </a:extLst>
          </p:cNvPr>
          <p:cNvSpPr/>
          <p:nvPr/>
        </p:nvSpPr>
        <p:spPr>
          <a:xfrm>
            <a:off x="9812060" y="5437047"/>
            <a:ext cx="2177865" cy="123928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FFFF8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räningstider </a:t>
            </a: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Mån: 18:30-20.00 Konstgräs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is:   18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30-20:00 B-plan (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hel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)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ors: 17.00-18:30 B-plan (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halv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)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EAE003C-6297-B0BB-F322-15AD52F52780}"/>
              </a:ext>
            </a:extLst>
          </p:cNvPr>
          <p:cNvCxnSpPr>
            <a:cxnSpLocks/>
          </p:cNvCxnSpPr>
          <p:nvPr/>
        </p:nvCxnSpPr>
        <p:spPr>
          <a:xfrm>
            <a:off x="8407665" y="5642824"/>
            <a:ext cx="1330269" cy="19184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Bildobjekt 8">
            <a:extLst>
              <a:ext uri="{FF2B5EF4-FFF2-40B4-BE49-F238E27FC236}">
                <a16:creationId xmlns:a16="http://schemas.microsoft.com/office/drawing/2014/main" id="{79C6FBBF-3A7C-AC14-22BD-931B8EDCD1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0630" y="276040"/>
            <a:ext cx="1979295" cy="19704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5290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EB4E2-16A3-E135-E642-199F382F9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1EC356-94D7-DF68-0038-6B4AE2443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3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59FA39-3F05-4B9B-74AB-84B920002341}"/>
              </a:ext>
            </a:extLst>
          </p:cNvPr>
          <p:cNvSpPr txBox="1"/>
          <p:nvPr/>
        </p:nvSpPr>
        <p:spPr>
          <a:xfrm>
            <a:off x="6026086" y="2418617"/>
            <a:ext cx="609442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sv-SE" dirty="0"/>
              <a:t>Medlemsavgift​/Deltagaravgift: 500:-/1100:-</a:t>
            </a:r>
          </a:p>
          <a:p>
            <a:pPr fontAlgn="base"/>
            <a:endParaRPr lang="sv-SE" dirty="0"/>
          </a:p>
          <a:p>
            <a:pPr fontAlgn="base"/>
            <a:r>
              <a:rPr lang="sv-SE" dirty="0"/>
              <a:t>Fritidskortet </a:t>
            </a:r>
            <a:r>
              <a:rPr lang="en-US" dirty="0"/>
              <a:t>​- </a:t>
            </a:r>
            <a:r>
              <a:rPr lang="en-US" dirty="0" err="1"/>
              <a:t>Anslutna</a:t>
            </a:r>
            <a:r>
              <a:rPr lang="en-US" dirty="0"/>
              <a:t>, </a:t>
            </a:r>
            <a:r>
              <a:rPr lang="en-US" dirty="0" err="1"/>
              <a:t>invänta</a:t>
            </a:r>
            <a:r>
              <a:rPr lang="en-US" dirty="0"/>
              <a:t> </a:t>
            </a:r>
            <a:r>
              <a:rPr lang="en-US" dirty="0" err="1"/>
              <a:t>betalningsavi</a:t>
            </a:r>
            <a:endParaRPr lang="en-US" dirty="0"/>
          </a:p>
          <a:p>
            <a:pPr fontAlgn="base"/>
            <a:endParaRPr lang="en-US" dirty="0"/>
          </a:p>
          <a:p>
            <a:pPr fontAlgn="base"/>
            <a:r>
              <a:rPr lang="sv-SE" dirty="0"/>
              <a:t>Extraträning</a:t>
            </a:r>
            <a:r>
              <a:rPr lang="en-US" dirty="0"/>
              <a:t>​: Start </a:t>
            </a:r>
            <a:r>
              <a:rPr lang="en-US" dirty="0" err="1"/>
              <a:t>vecka</a:t>
            </a:r>
            <a:r>
              <a:rPr lang="en-US" dirty="0"/>
              <a:t> 15</a:t>
            </a:r>
          </a:p>
          <a:p>
            <a:pPr fontAlgn="base"/>
            <a:r>
              <a:rPr lang="en-US" dirty="0"/>
              <a:t>​</a:t>
            </a:r>
            <a:endParaRPr lang="en-S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E987B7C-D3F5-CF0F-09A3-054267909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999" y="1469383"/>
            <a:ext cx="5068007" cy="442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339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65586BF-46D3-6E4E-9E7C-C0FC932764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083394" y="2305278"/>
            <a:ext cx="9144000" cy="1123722"/>
          </a:xfrm>
        </p:spPr>
        <p:txBody>
          <a:bodyPr>
            <a:normAutofit/>
          </a:bodyPr>
          <a:lstStyle/>
          <a:p>
            <a:r>
              <a:rPr lang="sv-SE" sz="4000" dirty="0">
                <a:solidFill>
                  <a:srgbClr val="C1A666"/>
                </a:solidFill>
              </a:rPr>
              <a:t>2 Serier, olika nivåer</a:t>
            </a:r>
          </a:p>
        </p:txBody>
      </p:sp>
      <p:graphicFrame>
        <p:nvGraphicFramePr>
          <p:cNvPr id="4" name="Content Placeholder 20">
            <a:extLst>
              <a:ext uri="{FF2B5EF4-FFF2-40B4-BE49-F238E27FC236}">
                <a16:creationId xmlns:a16="http://schemas.microsoft.com/office/drawing/2014/main" id="{D8480E23-B569-0A51-A34E-9DDD54FAF0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5961743"/>
              </p:ext>
            </p:extLst>
          </p:nvPr>
        </p:nvGraphicFramePr>
        <p:xfrm>
          <a:off x="266701" y="3524250"/>
          <a:ext cx="4443811" cy="2883480"/>
        </p:xfrm>
        <a:graphic>
          <a:graphicData uri="http://schemas.openxmlformats.org/drawingml/2006/table">
            <a:tbl>
              <a:tblPr/>
              <a:tblGrid>
                <a:gridCol w="2229647">
                  <a:extLst>
                    <a:ext uri="{9D8B030D-6E8A-4147-A177-3AD203B41FA5}">
                      <a16:colId xmlns:a16="http://schemas.microsoft.com/office/drawing/2014/main" val="716701751"/>
                    </a:ext>
                  </a:extLst>
                </a:gridCol>
                <a:gridCol w="2214164">
                  <a:extLst>
                    <a:ext uri="{9D8B030D-6E8A-4147-A177-3AD203B41FA5}">
                      <a16:colId xmlns:a16="http://schemas.microsoft.com/office/drawing/2014/main" val="3247462333"/>
                    </a:ext>
                  </a:extLst>
                </a:gridCol>
              </a:tblGrid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Serie NV 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Serie NV 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056314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Assyrisk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Bankery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9416235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Eksjö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Egnahe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175256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Hag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Forseru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903668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Hallb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Gränn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482773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J-Södr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Hag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165789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Tenhul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Hallb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548840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Tranå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Vist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600465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Vetland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Lekery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92888"/>
                  </a:ext>
                </a:extLst>
              </a:tr>
              <a:tr h="288348">
                <a:tc>
                  <a:txBody>
                    <a:bodyPr/>
                    <a:lstStyle/>
                    <a:p>
                      <a:pPr algn="l" fontAlgn="b"/>
                      <a:endParaRPr lang="sv-SE" sz="1000" b="0" i="0" u="none" strike="noStrike" dirty="0">
                        <a:solidFill>
                          <a:schemeClr val="bg1"/>
                        </a:solidFill>
                        <a:effectLst/>
                        <a:latin typeface="Apis For Office" panose="020B05040101010101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pis For Office" panose="020B0504010101010104" pitchFamily="34" charset="0"/>
                        </a:rPr>
                        <a:t>Mullsjö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916321"/>
                  </a:ext>
                </a:extLst>
              </a:tr>
            </a:tbl>
          </a:graphicData>
        </a:graphic>
      </p:graphicFrame>
      <p:sp>
        <p:nvSpPr>
          <p:cNvPr id="5" name="Rektangel 5">
            <a:extLst>
              <a:ext uri="{FF2B5EF4-FFF2-40B4-BE49-F238E27FC236}">
                <a16:creationId xmlns:a16="http://schemas.microsoft.com/office/drawing/2014/main" id="{778AA1EB-8A0F-8898-B6F2-C18808A6F976}"/>
              </a:ext>
            </a:extLst>
          </p:cNvPr>
          <p:cNvSpPr/>
          <p:nvPr/>
        </p:nvSpPr>
        <p:spPr>
          <a:xfrm>
            <a:off x="8801099" y="3016577"/>
            <a:ext cx="3124200" cy="359928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400"/>
              </a:lnSpc>
              <a:spcAft>
                <a:spcPts val="800"/>
              </a:spcAft>
            </a:pPr>
            <a:endParaRPr lang="sv-SE" b="1" u="sng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b="1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edare 2026 -Tränarroller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vudtränare: Rahm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änare: Jakob, Jonas, Dan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agledare/Admin: Martin, Daniel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terial: Niklas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ygghetsansvarig: Anders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jukvård: Martin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öräldrarep: Marie, Sara, Kristin</a:t>
            </a:r>
            <a:endParaRPr lang="sv-SE" sz="16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	</a:t>
            </a:r>
            <a:endParaRPr lang="sv-SE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</a:t>
            </a:r>
            <a:endParaRPr lang="sv-SE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sv-S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	</a:t>
            </a:r>
            <a:endParaRPr lang="sv-SE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lnSpc>
                <a:spcPts val="1400"/>
              </a:lnSpc>
              <a:spcAft>
                <a:spcPts val="800"/>
              </a:spcAft>
            </a:pPr>
            <a:r>
              <a:rPr lang="sv-S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lang="sv-SE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396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3290DAB-CAC0-573F-1E1F-7BF09A6DCF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7654138"/>
              </p:ext>
            </p:extLst>
          </p:nvPr>
        </p:nvGraphicFramePr>
        <p:xfrm>
          <a:off x="94268" y="75415"/>
          <a:ext cx="7447176" cy="6082694"/>
        </p:xfrm>
        <a:graphic>
          <a:graphicData uri="http://schemas.openxmlformats.org/drawingml/2006/table">
            <a:tbl>
              <a:tblPr/>
              <a:tblGrid>
                <a:gridCol w="1691248">
                  <a:extLst>
                    <a:ext uri="{9D8B030D-6E8A-4147-A177-3AD203B41FA5}">
                      <a16:colId xmlns:a16="http://schemas.microsoft.com/office/drawing/2014/main" val="3342797716"/>
                    </a:ext>
                  </a:extLst>
                </a:gridCol>
                <a:gridCol w="1705460">
                  <a:extLst>
                    <a:ext uri="{9D8B030D-6E8A-4147-A177-3AD203B41FA5}">
                      <a16:colId xmlns:a16="http://schemas.microsoft.com/office/drawing/2014/main" val="3060265802"/>
                    </a:ext>
                  </a:extLst>
                </a:gridCol>
                <a:gridCol w="1549127">
                  <a:extLst>
                    <a:ext uri="{9D8B030D-6E8A-4147-A177-3AD203B41FA5}">
                      <a16:colId xmlns:a16="http://schemas.microsoft.com/office/drawing/2014/main" val="2861221567"/>
                    </a:ext>
                  </a:extLst>
                </a:gridCol>
                <a:gridCol w="2501341">
                  <a:extLst>
                    <a:ext uri="{9D8B030D-6E8A-4147-A177-3AD203B41FA5}">
                      <a16:colId xmlns:a16="http://schemas.microsoft.com/office/drawing/2014/main" val="2689460509"/>
                    </a:ext>
                  </a:extLst>
                </a:gridCol>
              </a:tblGrid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llby FK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5-04-2026 00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Bymarksvallen 2, Jönköping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382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Tranås F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6-04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95841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Tenhults I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2-05-2026 15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Furuvi 1, Lekeryd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179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Egnahems BK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3-05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82109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Lekeryd-Svarttorps SK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0-05-2026 18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Ribbavallen 11, Gränna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167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ga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7-05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234266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Jönköpings Södra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7-05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Gruveredsvallen 5, Mullsjö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125830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llby FK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4-05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Trollevi 11, Forserum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690470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Gränna AIS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4-05-2026 10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5362472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K Vista /ÖIS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31-05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367195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ga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31-05-2026 17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Runnåkra IP 11, Huskvarna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74143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Mullsjö I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6-06-2026 10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021368"/>
                  </a:ext>
                </a:extLst>
              </a:tr>
              <a:tr h="1441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Eksjö Fotboll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7-06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trömsbergsvallen 21, Jönköping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857756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Forserums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3-06-2026 14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015087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Vetlanda F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4-06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Vistavallen 21, Kaxholmen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3255103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Bankeryds SK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1-06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30323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Assyriska IK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1-06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34441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Tranås F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7-06-2026 13:3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Furuvik 11, Bankeryd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057136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llby FK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8-06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892347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Egnahems BK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6-08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Kabevallen 1, Tenhult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299855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Tenhults I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6-08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Jordbrovallen 21, Jönköping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372005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Lekeryd-Svarttorps SK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3-08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697575"/>
                  </a:ext>
                </a:extLst>
              </a:tr>
              <a:tr h="171216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ga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9-08-2026 11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trömsbergsvallen 21, Jönköping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36001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Jönköpings Södra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30-08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000931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Gränna AIS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6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22293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llby FK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6-09-2026 16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Öxnehaga IP, Huskvarna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663922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Haga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3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Bredstorps IP 31, Tranås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911455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K Vista /ÖIS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13-09-2026 17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755888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Mullsjö IF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0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35619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IF Eksjö Fotboll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0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Bymarksvallen 2, Jönköping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356753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Forserums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7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343424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Vetlanda F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27-09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Ränneborg 41, Eksjö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727585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Assyriska IK 1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4-10-2026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Vitalavallen 21, Vetlanda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0404964"/>
                  </a:ext>
                </a:extLst>
              </a:tr>
              <a:tr h="18022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Bankeryds SK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Habo IF 2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SE" sz="900" b="0" i="0" u="none" strike="noStrike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04-10-2026 16:00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900" b="0" i="0" u="none" strike="noStrike" dirty="0">
                          <a:solidFill>
                            <a:srgbClr val="3D3D3D"/>
                          </a:solidFill>
                          <a:effectLst/>
                          <a:latin typeface="Verdana" panose="020B0604030504040204" pitchFamily="34" charset="0"/>
                        </a:rPr>
                        <a:t>Slättens IP, Habo</a:t>
                      </a:r>
                    </a:p>
                  </a:txBody>
                  <a:tcPr marL="6446" marR="6446" marT="644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54506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76216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89694E5-C3B5-CEB7-AB3E-3188507F5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2B010F-FBF3-A4D7-0EE0-764B58C0886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3482" b="10938"/>
          <a:stretch/>
        </p:blipFill>
        <p:spPr>
          <a:xfrm>
            <a:off x="153347" y="365125"/>
            <a:ext cx="12038653" cy="4981575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95EB72-C825-D01E-A3B8-969757AB265B}"/>
              </a:ext>
            </a:extLst>
          </p:cNvPr>
          <p:cNvSpPr txBox="1"/>
          <p:nvPr/>
        </p:nvSpPr>
        <p:spPr>
          <a:xfrm>
            <a:off x="8878726" y="2693252"/>
            <a:ext cx="474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6: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50D5F7-99B9-7253-47F2-0133218E9295}"/>
              </a:ext>
            </a:extLst>
          </p:cNvPr>
          <p:cNvSpPr txBox="1"/>
          <p:nvPr/>
        </p:nvSpPr>
        <p:spPr>
          <a:xfrm>
            <a:off x="7444099" y="3062584"/>
            <a:ext cx="474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8: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DC81A5-621A-F722-62C8-A3A67F45DD5E}"/>
              </a:ext>
            </a:extLst>
          </p:cNvPr>
          <p:cNvSpPr txBox="1"/>
          <p:nvPr/>
        </p:nvSpPr>
        <p:spPr>
          <a:xfrm>
            <a:off x="11250316" y="2648650"/>
            <a:ext cx="936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Målvak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F239C5-53EB-7098-AD48-B106B450CB01}"/>
              </a:ext>
            </a:extLst>
          </p:cNvPr>
          <p:cNvSpPr txBox="1"/>
          <p:nvPr/>
        </p:nvSpPr>
        <p:spPr>
          <a:xfrm>
            <a:off x="7444099" y="2284303"/>
            <a:ext cx="474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8: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BE7132-F375-1DF6-AE38-63E4417FF93E}"/>
              </a:ext>
            </a:extLst>
          </p:cNvPr>
          <p:cNvSpPr txBox="1"/>
          <p:nvPr/>
        </p:nvSpPr>
        <p:spPr>
          <a:xfrm>
            <a:off x="8289462" y="4780815"/>
            <a:ext cx="1178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Wing-bac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732922-E2A4-32D1-EE3F-B1C9F47E84BA}"/>
              </a:ext>
            </a:extLst>
          </p:cNvPr>
          <p:cNvSpPr txBox="1"/>
          <p:nvPr/>
        </p:nvSpPr>
        <p:spPr>
          <a:xfrm>
            <a:off x="8289462" y="594191"/>
            <a:ext cx="1178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Wing-bac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AEBF6A-CF5B-6D99-25FE-F33EC2E68A30}"/>
              </a:ext>
            </a:extLst>
          </p:cNvPr>
          <p:cNvSpPr txBox="1"/>
          <p:nvPr/>
        </p:nvSpPr>
        <p:spPr>
          <a:xfrm>
            <a:off x="6096000" y="2648650"/>
            <a:ext cx="9625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Forwar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16992F4-4E53-7A3C-4A89-ABCD557DA20C}"/>
              </a:ext>
            </a:extLst>
          </p:cNvPr>
          <p:cNvSpPr txBox="1"/>
          <p:nvPr/>
        </p:nvSpPr>
        <p:spPr>
          <a:xfrm>
            <a:off x="9658170" y="3331975"/>
            <a:ext cx="1019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Mittbac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0B45A8-BC0B-52E1-77A0-03DF46ED09B9}"/>
              </a:ext>
            </a:extLst>
          </p:cNvPr>
          <p:cNvSpPr txBox="1"/>
          <p:nvPr/>
        </p:nvSpPr>
        <p:spPr>
          <a:xfrm>
            <a:off x="9679764" y="1960079"/>
            <a:ext cx="1019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Mittback</a:t>
            </a:r>
          </a:p>
        </p:txBody>
      </p:sp>
    </p:spTree>
    <p:extLst>
      <p:ext uri="{BB962C8B-B14F-4D97-AF65-F5344CB8AC3E}">
        <p14:creationId xmlns:p14="http://schemas.microsoft.com/office/powerpoint/2010/main" val="22934987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F6F55-2BAC-C639-27C0-159B704A18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4A79D4C-E679-CA7C-A435-DC1CE307D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693" y="1814293"/>
            <a:ext cx="3170195" cy="470652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52D4AF-3B63-F28D-8E4C-5BE36207C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4578" y="3327662"/>
            <a:ext cx="8417421" cy="39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25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235" name="Rectangle 7234">
            <a:extLst>
              <a:ext uri="{FF2B5EF4-FFF2-40B4-BE49-F238E27FC236}">
                <a16:creationId xmlns:a16="http://schemas.microsoft.com/office/drawing/2014/main" id="{6B5E2835-4E47-45B3-9CFE-732FF7B054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1C4DD57-A38C-2F1D-5311-6570347C35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" r="1065"/>
          <a:stretch>
            <a:fillRect/>
          </a:stretch>
        </p:blipFill>
        <p:spPr bwMode="auto">
          <a:xfrm>
            <a:off x="3242695" y="10"/>
            <a:ext cx="8949307" cy="6857990"/>
          </a:xfrm>
          <a:custGeom>
            <a:avLst/>
            <a:gdLst/>
            <a:ahLst/>
            <a:cxnLst/>
            <a:rect l="l" t="t" r="r" b="b"/>
            <a:pathLst>
              <a:path w="8949307" h="6858000">
                <a:moveTo>
                  <a:pt x="0" y="0"/>
                </a:moveTo>
                <a:lnTo>
                  <a:pt x="8949307" y="0"/>
                </a:lnTo>
                <a:lnTo>
                  <a:pt x="8949307" y="6858000"/>
                </a:lnTo>
                <a:lnTo>
                  <a:pt x="0" y="6858000"/>
                </a:lnTo>
                <a:lnTo>
                  <a:pt x="62983" y="6788730"/>
                </a:lnTo>
                <a:cubicBezTo>
                  <a:pt x="773509" y="5928900"/>
                  <a:pt x="1212979" y="4741056"/>
                  <a:pt x="1212979" y="3429000"/>
                </a:cubicBezTo>
                <a:cubicBezTo>
                  <a:pt x="1212979" y="2116944"/>
                  <a:pt x="773509" y="929100"/>
                  <a:pt x="62983" y="6927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7237" name="Freeform: Shape 7236">
            <a:extLst>
              <a:ext uri="{FF2B5EF4-FFF2-40B4-BE49-F238E27FC236}">
                <a16:creationId xmlns:a16="http://schemas.microsoft.com/office/drawing/2014/main" id="{5B45AD5D-AA52-4F7B-9362-576A39AD9E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D5D5D5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7239" name="Freeform: Shape 7238">
            <a:extLst>
              <a:ext uri="{FF2B5EF4-FFF2-40B4-BE49-F238E27FC236}">
                <a16:creationId xmlns:a16="http://schemas.microsoft.com/office/drawing/2014/main" id="{AEDD7960-4866-4399-BEF6-DD1431AB4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EE5175-4CD4-4B25-8938-1DBA6872C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8748" y="1336040"/>
            <a:ext cx="3438144" cy="1125728"/>
          </a:xfrm>
        </p:spPr>
        <p:txBody>
          <a:bodyPr anchor="b">
            <a:normAutofit/>
          </a:bodyPr>
          <a:lstStyle/>
          <a:p>
            <a:r>
              <a:rPr lang="sv-SE" sz="2800" dirty="0"/>
              <a:t>Försäljning</a:t>
            </a:r>
            <a:endParaRPr lang="en-GB" sz="2800" dirty="0"/>
          </a:p>
        </p:txBody>
      </p:sp>
      <p:sp>
        <p:nvSpPr>
          <p:cNvPr id="7241" name="Rectangle 7240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243" name="Rectangle 7242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3756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81A51E-1600-41C0-BB27-F9E91BF402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3438906" cy="3207258"/>
          </a:xfrm>
        </p:spPr>
        <p:txBody>
          <a:bodyPr anchor="t">
            <a:normAutofit/>
          </a:bodyPr>
          <a:lstStyle/>
          <a:p>
            <a:pPr marL="457200" lvl="1" indent="0">
              <a:buNone/>
            </a:pPr>
            <a:endParaRPr lang="sv-SE" sz="1700" dirty="0"/>
          </a:p>
          <a:p>
            <a:pPr marL="457200" lvl="1" indent="0">
              <a:buNone/>
            </a:pPr>
            <a:r>
              <a:rPr lang="sv-SE" sz="1700" dirty="0"/>
              <a:t>	</a:t>
            </a:r>
          </a:p>
          <a:p>
            <a:pPr lvl="2"/>
            <a:r>
              <a:rPr lang="sv-SE" sz="1700" dirty="0"/>
              <a:t>Bingolotter</a:t>
            </a:r>
          </a:p>
          <a:p>
            <a:pPr lvl="2"/>
            <a:r>
              <a:rPr lang="sv-SE" sz="1700" dirty="0"/>
              <a:t>Stärka lagkassan med egen försäljning?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sv-SE" sz="1700" dirty="0"/>
              <a:t>Förslag?</a:t>
            </a:r>
          </a:p>
          <a:p>
            <a:endParaRPr lang="sv-SE" sz="1700" dirty="0"/>
          </a:p>
          <a:p>
            <a:endParaRPr lang="en-GB" sz="17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12256B-F517-20BF-01A8-79B9F07D167C}"/>
              </a:ext>
            </a:extLst>
          </p:cNvPr>
          <p:cNvSpPr/>
          <p:nvPr/>
        </p:nvSpPr>
        <p:spPr>
          <a:xfrm>
            <a:off x="371094" y="428625"/>
            <a:ext cx="1171956" cy="762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432732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D50D98-786B-C0E5-F820-5A0886E593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D073DF-9784-E8FA-60CC-F20D79BB3F23}"/>
              </a:ext>
            </a:extLst>
          </p:cNvPr>
          <p:cNvSpPr txBox="1"/>
          <p:nvPr/>
        </p:nvSpPr>
        <p:spPr>
          <a:xfrm>
            <a:off x="564023" y="2674833"/>
            <a:ext cx="6239978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Matchvärd – Uppgifter</a:t>
            </a:r>
          </a:p>
          <a:p>
            <a:endParaRPr lang="sv-SE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Hälsa domare välkomna</a:t>
            </a:r>
          </a:p>
          <a:p>
            <a:pPr marL="285750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Hälsa bortalag välkomna och visa omklädningsrum</a:t>
            </a:r>
          </a:p>
          <a:p>
            <a:pPr marL="285750" indent="-285750">
              <a:buFontTx/>
              <a:buChar char="-"/>
            </a:pPr>
            <a:endParaRPr lang="sv-SE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Inför match</a:t>
            </a:r>
          </a:p>
          <a:p>
            <a:pPr marL="742950" lvl="1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Informera båda lagen om Noll tolerans</a:t>
            </a:r>
          </a:p>
          <a:p>
            <a:pPr marL="1200150" lvl="2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Ej uttala negativa kommentarer om domslut</a:t>
            </a:r>
          </a:p>
          <a:p>
            <a:pPr marL="1200150" lvl="2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Schysst approach mot spelare och motståndare</a:t>
            </a:r>
          </a:p>
          <a:p>
            <a:pPr marL="285750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Under match</a:t>
            </a:r>
          </a:p>
          <a:p>
            <a:pPr marL="742950" lvl="1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Stötta domare</a:t>
            </a:r>
          </a:p>
          <a:p>
            <a:pPr marL="742950" lvl="1" indent="-285750">
              <a:buFontTx/>
              <a:buChar char="-"/>
            </a:pPr>
            <a:r>
              <a:rPr lang="sv-SE" dirty="0">
                <a:solidFill>
                  <a:schemeClr val="bg1"/>
                </a:solidFill>
              </a:rPr>
              <a:t>Prata med föräldrar och publik om de uppför sig negativt</a:t>
            </a:r>
          </a:p>
          <a:p>
            <a:pPr marL="742950" lvl="1" indent="-285750">
              <a:buFontTx/>
              <a:buChar char="-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1563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Habo IF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03C61"/>
      </a:accent1>
      <a:accent2>
        <a:srgbClr val="005D9C"/>
      </a:accent2>
      <a:accent3>
        <a:srgbClr val="D2B267"/>
      </a:accent3>
      <a:accent4>
        <a:srgbClr val="FFFFFF"/>
      </a:accent4>
      <a:accent5>
        <a:srgbClr val="FFFFFF"/>
      </a:accent5>
      <a:accent6>
        <a:srgbClr val="FFFFFF"/>
      </a:accent6>
      <a:hlink>
        <a:srgbClr val="103C61"/>
      </a:hlink>
      <a:folHlink>
        <a:srgbClr val="005D9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aboif.potx" id="{3C347902-1F77-47F8-BE3D-5155FA2CF097}" vid="{3A6BFA23-A926-48BA-A14B-5C5522477111}"/>
    </a:ext>
  </a:extLst>
</a:theme>
</file>

<file path=ppt/theme/theme4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TemplateConfiguration><![CDATA[{"elementsMetadata":[{"type":"shape","id":"c9c227f4-8c26-4e0b-8322-1349491b018a","elementConfiguration":{"inheritDimensions":"{{InheritDimensions.InheritNone}}","width":"7.67 cm","height":"3.64 cm","image":"{{Form.PLogoChoice.PLogoInsertion.Image}}","visibility":"","type":"image","disableUpdates":false}},{"type":"shape","id":"80599211-5dd2-40f7-9253-167e1299118d","elementConfiguration":{"inheritDimensions":"{{InheritDimensions.InheritNone}}","width":"7.67 cm","height":"3.64 cm","image":"{{Form.PLogoChoice.PLogoInsertionWhite.Image}}","visibility":"","type":"image","disableUpdates":false}},{"type":"shape","id":"d2c74e02-72cd-4c31-bda6-0d51377b95f0","elementConfiguration":{"inheritDimensions":"{{InheritDimensions.InheritNone}}","width":"7.67 cm","height":"3.64 cm","image":"{{Form.PLogoChoice.PLogoInsertionWhite.Image}}","visibility":"","type":"image","disableUpdates":false}},{"type":"shape","id":"6bb09c38-291a-40fc-9f21-322598dbf764","elementConfiguration":{"inheritDimensions":"{{InheritDimensions.InheritNone}}","width":"7.67 cm","height":"3.64 cm","image":"{{Form.PLogoChoice.PLogoInsertion.Image}}","visibility":"","type":"image","disableUpdates":false}},{"type":"shape","id":"6d5cd887-7f8d-4ace-b0c5-176aa105823f","elementConfiguration":{"inheritDimensions":"{{InheritDimensions.InheritNone}}","width":"7.67 cm","height":"3.64 cm","image":"{{Form.PLogoChoice.PLogoInsertion.Image}}","visibility":"","type":"image","disableUpdates":false}},{"type":"shape","id":"dfaf3a11-8330-4f32-8e98-b0fe97385246","elementConfiguration":{"inheritDimensions":"{{InheritDimensions.InheritNone}}","width":"7.67 cm","height":"3.64 cm","image":"{{Form.PLogoChoice.PLogoInsertionWhite.Image}}","visibility":"","type":"image","disableUpdates":false}},{"type":"shape","id":"da84e5de-a58e-41d9-8944-b7faf5871c01","elementConfiguration":{"inheritDimensions":"{{InheritDimensions.InheritNone}}","width":"7.67 cm","height":"3.64 cm","image":"{{Form.PLogoChoice.PLogoInsertion.Image}}","visibility":"","type":"image","disableUpdates":false}},{"type":"shape","id":"707d5590-19ce-44e5-bc71-1be377f50a45","elementConfiguration":{"inheritDimensions":"{{InheritDimensions.InheritNone}}","width":"7.67 cm","height":"3.64 cm","image":"{{Form.PLogoChoice.PLogoInsertion.Image}}","visibility":"","type":"image","disableUpdates":false}},{"type":"shape","id":"3597c04d-a1d4-4db2-9518-94d467de3247","elementConfiguration":{"inheritDimensions":"{{InheritDimensions.InheritNone}}","width":"7.67 cm","height":"3.64 cm","image":"{{Form.PLogoChoice.PLogoInsertionWhite.Image}}","visibility":"","type":"image","disableUpdates":false}},{"type":"shape","id":"e14c1e8b-e5f8-4300-ad3b-146d5f4e19b1","elementConfiguration":{"inheritDimensions":"{{InheritDimensions.InheritNone}}","width":"7.67 cm","height":"3.64 cm","image":"{{Form.PLogoChoice.PLogoInsertion.Image}}","visibility":"","type":"image","disableUpdates":false}},{"type":"shape","id":"2dd1c52b-e840-4584-af80-3688139ce934","elementConfiguration":{"inheritDimensions":"{{InheritDimensions.InheritNone}}","width":"7.67 cm","height":"3.64 cm","image":"{{Form.PLogoChoice.PLogoInsertionWhite.Image}}","visibility":"","type":"image","disableUpdates":false}},{"type":"shape","id":"33916994-bb0c-44ec-a8d4-4da1879bf7d0","elementConfiguration":{"inheritDimensions":"{{InheritDimensions.InheritNone}}","width":"7.67 cm","height":"3.64 cm","image":"{{Form.PLogoChoice.PLogoInsertion.Image}}","visibility":"","type":"image","disableUpdates":false}},{"type":"shape","id":"90fd5118-93fd-4a18-96fb-0ac0f4384496","elementConfiguration":{"inheritDimensions":"{{InheritDimensions.InheritNone}}","width":"7.67 cm","height":"3.64 cm","image":"{{Form.PLogoChoice.PLogoInsertionWhite.Image}}","visibility":"","type":"image","disableUpdates":false}}],"transformationConfigurations":[],"templateName":"Novo Nordisk template","templateDescription":"","enableDocumentContentUpdater":false,"version":"2.0"}]]></TemplafyTemplateConfiguration>
</file>

<file path=customXml/item2.xml><?xml version="1.0" encoding="utf-8"?>
<TemplafyFormConfiguration><![CDATA[{"formFields":[{"distinct":false,"hideIfNoUserInteractionRequired":false,"required":false,"autoSelectFirstOption":false,"helpTexts":{},"spacing":{},"shareValue":false,"type":"dropDown","dataSourceName":"PLogoChoice","dataSourceFieldName":"LogoUI","name":"PLogoChoice","label":"Choose template version"}],"formDataEntries":[{"name":"PLogoChoice","value":"wOFjggx7WcPEsCGJ0WR8BQ=="}]}]]></Templafy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1034136882650546178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2626F5D6-ACE2-47C9-A1D2-5866818DBE2E}">
  <ds:schemaRefs/>
</ds:datastoreItem>
</file>

<file path=customXml/itemProps2.xml><?xml version="1.0" encoding="utf-8"?>
<ds:datastoreItem xmlns:ds="http://schemas.openxmlformats.org/officeDocument/2006/customXml" ds:itemID="{C7E8FC0E-283E-401E-B8A8-87907F3228F6}">
  <ds:schemaRefs/>
</ds:datastoreItem>
</file>

<file path=customXml/itemProps3.xml><?xml version="1.0" encoding="utf-8"?>
<ds:datastoreItem xmlns:ds="http://schemas.openxmlformats.org/officeDocument/2006/customXml" ds:itemID="{6B7C7978-AA21-4F31-B059-175009865A6F}">
  <ds:schemaRefs/>
</ds:datastoreItem>
</file>

<file path=customXml/itemProps4.xml><?xml version="1.0" encoding="utf-8"?>
<ds:datastoreItem xmlns:ds="http://schemas.openxmlformats.org/officeDocument/2006/customXml" ds:itemID="{547F00E3-087D-4C22-8CA6-D994FF99EBE4}">
  <ds:schemaRefs/>
</ds:datastoreItem>
</file>

<file path=docMetadata/LabelInfo.xml><?xml version="1.0" encoding="utf-8"?>
<clbl:labelList xmlns:clbl="http://schemas.microsoft.com/office/2020/mipLabelMetadata">
  <clbl:label id="{f743b317-4758-44cb-8b65-8b43e4619766}" enabled="1" method="Standard" siteId="{fdfed7bd-9f6a-44a1-b694-6e39c468c150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9</TotalTime>
  <Words>713</Words>
  <Application>Microsoft Office PowerPoint</Application>
  <PresentationFormat>Widescreen</PresentationFormat>
  <Paragraphs>267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Calibri</vt:lpstr>
      <vt:lpstr>Apis For Office Light</vt:lpstr>
      <vt:lpstr>Verdana</vt:lpstr>
      <vt:lpstr>Apis For Office</vt:lpstr>
      <vt:lpstr>Calibri Light</vt:lpstr>
      <vt:lpstr>Wingdings</vt:lpstr>
      <vt:lpstr>Adelle Sans</vt:lpstr>
      <vt:lpstr>Novo Nordisk 16:9</vt:lpstr>
      <vt:lpstr>Office Theme</vt:lpstr>
      <vt:lpstr>Office-tema</vt:lpstr>
      <vt:lpstr>think-cell Slide</vt:lpstr>
      <vt:lpstr>Föräldramöte P12</vt:lpstr>
      <vt:lpstr>Årshjul p12 </vt:lpstr>
      <vt:lpstr>PowerPoint Presentation</vt:lpstr>
      <vt:lpstr>2 Serier, olika nivåer</vt:lpstr>
      <vt:lpstr>PowerPoint Presentation</vt:lpstr>
      <vt:lpstr>PowerPoint Presentation</vt:lpstr>
      <vt:lpstr>PowerPoint Presentation</vt:lpstr>
      <vt:lpstr>Försäljn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QMKR (Martin Karlsson)</dc:creator>
  <cp:lastModifiedBy>QMKR (Martin Karlsson)</cp:lastModifiedBy>
  <cp:revision>10</cp:revision>
  <dcterms:created xsi:type="dcterms:W3CDTF">2025-02-11T15:02:51Z</dcterms:created>
  <dcterms:modified xsi:type="dcterms:W3CDTF">2026-04-07T20:0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4-10-25T09:29:38</vt:lpwstr>
  </property>
  <property fmtid="{D5CDD505-2E9C-101B-9397-08002B2CF9AE}" pid="3" name="TemplafyTenantId">
    <vt:lpwstr>novonordisk</vt:lpwstr>
  </property>
  <property fmtid="{D5CDD505-2E9C-101B-9397-08002B2CF9AE}" pid="4" name="TemplafyTemplateId">
    <vt:lpwstr>1034136874765255028</vt:lpwstr>
  </property>
  <property fmtid="{D5CDD505-2E9C-101B-9397-08002B2CF9AE}" pid="5" name="TemplafyUserProfileId">
    <vt:lpwstr>1014098387248611578</vt:lpwstr>
  </property>
  <property fmtid="{D5CDD505-2E9C-101B-9397-08002B2CF9AE}" pid="6" name="TemplafyLanguageCode">
    <vt:lpwstr>en-GB</vt:lpwstr>
  </property>
  <property fmtid="{D5CDD505-2E9C-101B-9397-08002B2CF9AE}" pid="7" name="TemplafyFromBlank">
    <vt:bool>true</vt:bool>
  </property>
</Properties>
</file>